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4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slideLayouts/slideLayout178.xml" ContentType="application/vnd.openxmlformats-officedocument.presentationml.slideLayout+xml"/>
  <Override PartName="/ppt/theme/theme5.xml" ContentType="application/vnd.openxmlformats-officedocument.theme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6.xml" ContentType="application/vnd.openxmlformats-officedocument.theme+xml"/>
  <Override PartName="/ppt/slideLayouts/slideLayout200.xml" ContentType="application/vnd.openxmlformats-officedocument.presentationml.slideLayout+xml"/>
  <Override PartName="/ppt/theme/theme7.xml" ContentType="application/vnd.openxmlformats-officedocument.theme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heme/theme8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heme/theme9.xml" ContentType="application/vnd.openxmlformats-officedocument.theme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  <p:sldMasterId id="2147483700" r:id="rId2"/>
    <p:sldMasterId id="2147484829" r:id="rId3"/>
    <p:sldMasterId id="2147484995" r:id="rId4"/>
    <p:sldMasterId id="2147483648" r:id="rId5"/>
    <p:sldMasterId id="2147485170" r:id="rId6"/>
    <p:sldMasterId id="2147485193" r:id="rId7"/>
    <p:sldMasterId id="2147485195" r:id="rId8"/>
  </p:sldMasterIdLst>
  <p:notesMasterIdLst>
    <p:notesMasterId r:id="rId15"/>
  </p:notesMasterIdLst>
  <p:sldIdLst>
    <p:sldId id="2147479568" r:id="rId9"/>
    <p:sldId id="2147479550" r:id="rId10"/>
    <p:sldId id="2147479618" r:id="rId11"/>
    <p:sldId id="2147479578" r:id="rId12"/>
    <p:sldId id="2147479616" r:id="rId13"/>
    <p:sldId id="2147479561" r:id="rId14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C1D9D5A-2BF6-41DD-981F-CF7625C63726}">
          <p14:sldIdLst>
            <p14:sldId id="2147479568"/>
            <p14:sldId id="2147479550"/>
            <p14:sldId id="2147479618"/>
            <p14:sldId id="2147479578"/>
            <p14:sldId id="2147479616"/>
            <p14:sldId id="214747956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EF59521-58E4-67BC-C60C-6DC5910F5CF4}" name="LaRose, Jen (JK)" initials="LJ(" userId="S::U091209@Dow.com::28d8c156-0c66-471d-ad05-a81d5dcb9f5b" providerId="AD"/>
  <p188:author id="{2F1CFED5-A361-19EB-AAAF-3F9D0C429F40}" name="Jensen, Leticia (LJ)" initials="JL(" userId="S::U371480@dow.com::a413d1fb-e5bc-4401-85e1-c703bf9a943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eene, Suzanne (S)" initials="GS(" lastIdx="1" clrIdx="0">
    <p:extLst>
      <p:ext uri="{19B8F6BF-5375-455C-9EA6-DF929625EA0E}">
        <p15:presenceInfo xmlns:p15="http://schemas.microsoft.com/office/powerpoint/2012/main" userId="S::UB02721@DOW.COM::02577a43-e047-41b5-b60f-018546c42e3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7A8"/>
    <a:srgbClr val="FF8613"/>
    <a:srgbClr val="A8B9CD"/>
    <a:srgbClr val="42536C"/>
    <a:srgbClr val="FFFFFF"/>
    <a:srgbClr val="F2F2F2"/>
    <a:srgbClr val="1B2A47"/>
    <a:srgbClr val="00A69E"/>
    <a:srgbClr val="ADD7D3"/>
    <a:srgbClr val="69B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D6C6834-33B9-4EF9-94AE-AC1C1DCAA834}" v="164" dt="2024-01-23T05:39:09.2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753" autoAdjust="0"/>
    <p:restoredTop sz="94878" autoAdjust="0"/>
  </p:normalViewPr>
  <p:slideViewPr>
    <p:cSldViewPr snapToGrid="0">
      <p:cViewPr>
        <p:scale>
          <a:sx n="59" d="100"/>
          <a:sy n="59" d="100"/>
        </p:scale>
        <p:origin x="1132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250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microsoft.com/office/2016/11/relationships/changesInfo" Target="changesInfos/changesInfo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reene, Suzanne (S)" userId="02577a43-e047-41b5-b60f-018546c42e33" providerId="ADAL" clId="{6D6C6834-33B9-4EF9-94AE-AC1C1DCAA834}"/>
    <pc:docChg chg="undo custSel addSld delSld modSld sldOrd delMainMaster modMainMaster modSection">
      <pc:chgData name="Greene, Suzanne (S)" userId="02577a43-e047-41b5-b60f-018546c42e33" providerId="ADAL" clId="{6D6C6834-33B9-4EF9-94AE-AC1C1DCAA834}" dt="2024-01-23T05:38:24.231" v="389" actId="167"/>
      <pc:docMkLst>
        <pc:docMk/>
      </pc:docMkLst>
      <pc:sldChg chg="del">
        <pc:chgData name="Greene, Suzanne (S)" userId="02577a43-e047-41b5-b60f-018546c42e33" providerId="ADAL" clId="{6D6C6834-33B9-4EF9-94AE-AC1C1DCAA834}" dt="2024-01-22T19:22:34.349" v="0" actId="47"/>
        <pc:sldMkLst>
          <pc:docMk/>
          <pc:sldMk cId="3346591553" sldId="10423"/>
        </pc:sldMkLst>
      </pc:sldChg>
      <pc:sldChg chg="del">
        <pc:chgData name="Greene, Suzanne (S)" userId="02577a43-e047-41b5-b60f-018546c42e33" providerId="ADAL" clId="{6D6C6834-33B9-4EF9-94AE-AC1C1DCAA834}" dt="2024-01-22T19:40:54.730" v="9" actId="47"/>
        <pc:sldMkLst>
          <pc:docMk/>
          <pc:sldMk cId="1294846606" sldId="2147471814"/>
        </pc:sldMkLst>
      </pc:sldChg>
      <pc:sldChg chg="del">
        <pc:chgData name="Greene, Suzanne (S)" userId="02577a43-e047-41b5-b60f-018546c42e33" providerId="ADAL" clId="{6D6C6834-33B9-4EF9-94AE-AC1C1DCAA834}" dt="2024-01-22T19:40:57.321" v="12" actId="47"/>
        <pc:sldMkLst>
          <pc:docMk/>
          <pc:sldMk cId="342758934" sldId="2147471815"/>
        </pc:sldMkLst>
      </pc:sldChg>
      <pc:sldChg chg="del">
        <pc:chgData name="Greene, Suzanne (S)" userId="02577a43-e047-41b5-b60f-018546c42e33" providerId="ADAL" clId="{6D6C6834-33B9-4EF9-94AE-AC1C1DCAA834}" dt="2024-01-22T19:40:55.678" v="10" actId="47"/>
        <pc:sldMkLst>
          <pc:docMk/>
          <pc:sldMk cId="669896568" sldId="2147471843"/>
        </pc:sldMkLst>
      </pc:sldChg>
      <pc:sldChg chg="del">
        <pc:chgData name="Greene, Suzanne (S)" userId="02577a43-e047-41b5-b60f-018546c42e33" providerId="ADAL" clId="{6D6C6834-33B9-4EF9-94AE-AC1C1DCAA834}" dt="2024-01-22T19:40:56.163" v="11" actId="47"/>
        <pc:sldMkLst>
          <pc:docMk/>
          <pc:sldMk cId="1269826773" sldId="2147471849"/>
        </pc:sldMkLst>
      </pc:sldChg>
      <pc:sldChg chg="add del">
        <pc:chgData name="Greene, Suzanne (S)" userId="02577a43-e047-41b5-b60f-018546c42e33" providerId="ADAL" clId="{6D6C6834-33B9-4EF9-94AE-AC1C1DCAA834}" dt="2024-01-22T19:40:45.486" v="7" actId="47"/>
        <pc:sldMkLst>
          <pc:docMk/>
          <pc:sldMk cId="1506675783" sldId="2147479539"/>
        </pc:sldMkLst>
      </pc:sldChg>
      <pc:sldChg chg="modSp mod">
        <pc:chgData name="Greene, Suzanne (S)" userId="02577a43-e047-41b5-b60f-018546c42e33" providerId="ADAL" clId="{6D6C6834-33B9-4EF9-94AE-AC1C1DCAA834}" dt="2024-01-22T20:53:23.385" v="388" actId="207"/>
        <pc:sldMkLst>
          <pc:docMk/>
          <pc:sldMk cId="2038127333" sldId="2147479550"/>
        </pc:sldMkLst>
        <pc:spChg chg="mod">
          <ac:chgData name="Greene, Suzanne (S)" userId="02577a43-e047-41b5-b60f-018546c42e33" providerId="ADAL" clId="{6D6C6834-33B9-4EF9-94AE-AC1C1DCAA834}" dt="2024-01-22T20:53:23.385" v="388" actId="207"/>
          <ac:spMkLst>
            <pc:docMk/>
            <pc:sldMk cId="2038127333" sldId="2147479550"/>
            <ac:spMk id="2" creationId="{00000000-0000-0000-0000-000000000000}"/>
          </ac:spMkLst>
        </pc:spChg>
      </pc:sldChg>
      <pc:sldChg chg="del">
        <pc:chgData name="Greene, Suzanne (S)" userId="02577a43-e047-41b5-b60f-018546c42e33" providerId="ADAL" clId="{6D6C6834-33B9-4EF9-94AE-AC1C1DCAA834}" dt="2024-01-22T19:41:00.573" v="13" actId="47"/>
        <pc:sldMkLst>
          <pc:docMk/>
          <pc:sldMk cId="2263473434" sldId="2147479557"/>
        </pc:sldMkLst>
      </pc:sldChg>
      <pc:sldChg chg="modSp mod">
        <pc:chgData name="Greene, Suzanne (S)" userId="02577a43-e047-41b5-b60f-018546c42e33" providerId="ADAL" clId="{6D6C6834-33B9-4EF9-94AE-AC1C1DCAA834}" dt="2024-01-22T20:03:16.609" v="49" actId="207"/>
        <pc:sldMkLst>
          <pc:docMk/>
          <pc:sldMk cId="3776979218" sldId="2147479568"/>
        </pc:sldMkLst>
        <pc:spChg chg="mod">
          <ac:chgData name="Greene, Suzanne (S)" userId="02577a43-e047-41b5-b60f-018546c42e33" providerId="ADAL" clId="{6D6C6834-33B9-4EF9-94AE-AC1C1DCAA834}" dt="2024-01-22T20:03:16.609" v="49" actId="207"/>
          <ac:spMkLst>
            <pc:docMk/>
            <pc:sldMk cId="3776979218" sldId="2147479568"/>
            <ac:spMk id="5" creationId="{7D843E3C-F151-4D58-AB8E-D9DE2BDE3992}"/>
          </ac:spMkLst>
        </pc:spChg>
        <pc:spChg chg="mod">
          <ac:chgData name="Greene, Suzanne (S)" userId="02577a43-e047-41b5-b60f-018546c42e33" providerId="ADAL" clId="{6D6C6834-33B9-4EF9-94AE-AC1C1DCAA834}" dt="2024-01-22T20:03:16.609" v="49" actId="207"/>
          <ac:spMkLst>
            <pc:docMk/>
            <pc:sldMk cId="3776979218" sldId="2147479568"/>
            <ac:spMk id="9" creationId="{6D5790E5-FF2B-6758-9F02-26BE1B6D0683}"/>
          </ac:spMkLst>
        </pc:spChg>
      </pc:sldChg>
      <pc:sldChg chg="del">
        <pc:chgData name="Greene, Suzanne (S)" userId="02577a43-e047-41b5-b60f-018546c42e33" providerId="ADAL" clId="{6D6C6834-33B9-4EF9-94AE-AC1C1DCAA834}" dt="2024-01-22T19:25:06.606" v="2" actId="47"/>
        <pc:sldMkLst>
          <pc:docMk/>
          <pc:sldMk cId="1540584489" sldId="2147479573"/>
        </pc:sldMkLst>
      </pc:sldChg>
      <pc:sldChg chg="del">
        <pc:chgData name="Greene, Suzanne (S)" userId="02577a43-e047-41b5-b60f-018546c42e33" providerId="ADAL" clId="{6D6C6834-33B9-4EF9-94AE-AC1C1DCAA834}" dt="2024-01-22T19:40:39.842" v="6" actId="47"/>
        <pc:sldMkLst>
          <pc:docMk/>
          <pc:sldMk cId="2934779899" sldId="2147479576"/>
        </pc:sldMkLst>
      </pc:sldChg>
      <pc:sldChg chg="del">
        <pc:chgData name="Greene, Suzanne (S)" userId="02577a43-e047-41b5-b60f-018546c42e33" providerId="ADAL" clId="{6D6C6834-33B9-4EF9-94AE-AC1C1DCAA834}" dt="2024-01-22T19:40:51.420" v="8" actId="47"/>
        <pc:sldMkLst>
          <pc:docMk/>
          <pc:sldMk cId="2448558175" sldId="2147479577"/>
        </pc:sldMkLst>
      </pc:sldChg>
      <pc:sldChg chg="addSp delSp modSp add del mod ord">
        <pc:chgData name="Greene, Suzanne (S)" userId="02577a43-e047-41b5-b60f-018546c42e33" providerId="ADAL" clId="{6D6C6834-33B9-4EF9-94AE-AC1C1DCAA834}" dt="2024-01-23T05:38:24.231" v="389" actId="167"/>
        <pc:sldMkLst>
          <pc:docMk/>
          <pc:sldMk cId="6453335" sldId="2147479578"/>
        </pc:sldMkLst>
        <pc:spChg chg="mod">
          <ac:chgData name="Greene, Suzanne (S)" userId="02577a43-e047-41b5-b60f-018546c42e33" providerId="ADAL" clId="{6D6C6834-33B9-4EF9-94AE-AC1C1DCAA834}" dt="2024-01-22T20:53:08.512" v="386" actId="207"/>
          <ac:spMkLst>
            <pc:docMk/>
            <pc:sldMk cId="6453335" sldId="2147479578"/>
            <ac:spMk id="6" creationId="{92D1DE9C-6BBA-38C3-85F2-A5CAF4961A64}"/>
          </ac:spMkLst>
        </pc:spChg>
        <pc:spChg chg="add mod ord">
          <ac:chgData name="Greene, Suzanne (S)" userId="02577a43-e047-41b5-b60f-018546c42e33" providerId="ADAL" clId="{6D6C6834-33B9-4EF9-94AE-AC1C1DCAA834}" dt="2024-01-22T20:33:34.171" v="160" actId="1076"/>
          <ac:spMkLst>
            <pc:docMk/>
            <pc:sldMk cId="6453335" sldId="2147479578"/>
            <ac:spMk id="13" creationId="{681A5406-351D-9795-01A0-3F5D4BFCB1FB}"/>
          </ac:spMkLst>
        </pc:spChg>
        <pc:graphicFrameChg chg="add mod">
          <ac:chgData name="Greene, Suzanne (S)" userId="02577a43-e047-41b5-b60f-018546c42e33" providerId="ADAL" clId="{6D6C6834-33B9-4EF9-94AE-AC1C1DCAA834}" dt="2024-01-22T20:33:34.171" v="160" actId="1076"/>
          <ac:graphicFrameMkLst>
            <pc:docMk/>
            <pc:sldMk cId="6453335" sldId="2147479578"/>
            <ac:graphicFrameMk id="4" creationId="{F86F6769-AECD-AADA-8023-55D41E864FB1}"/>
          </ac:graphicFrameMkLst>
        </pc:graphicFrameChg>
        <pc:graphicFrameChg chg="mod modGraphic">
          <ac:chgData name="Greene, Suzanne (S)" userId="02577a43-e047-41b5-b60f-018546c42e33" providerId="ADAL" clId="{6D6C6834-33B9-4EF9-94AE-AC1C1DCAA834}" dt="2024-01-22T20:48:38.550" v="379" actId="20577"/>
          <ac:graphicFrameMkLst>
            <pc:docMk/>
            <pc:sldMk cId="6453335" sldId="2147479578"/>
            <ac:graphicFrameMk id="10" creationId="{F61CE42E-FF07-36A6-5F40-97E147049ED6}"/>
          </ac:graphicFrameMkLst>
        </pc:graphicFrameChg>
        <pc:picChg chg="add del mod">
          <ac:chgData name="Greene, Suzanne (S)" userId="02577a43-e047-41b5-b60f-018546c42e33" providerId="ADAL" clId="{6D6C6834-33B9-4EF9-94AE-AC1C1DCAA834}" dt="2024-01-22T20:25:00.586" v="97" actId="478"/>
          <ac:picMkLst>
            <pc:docMk/>
            <pc:sldMk cId="6453335" sldId="2147479578"/>
            <ac:picMk id="3" creationId="{876A5752-60EA-2729-0794-2C938DC617DE}"/>
          </ac:picMkLst>
        </pc:picChg>
        <pc:picChg chg="add del mod modCrop">
          <ac:chgData name="Greene, Suzanne (S)" userId="02577a43-e047-41b5-b60f-018546c42e33" providerId="ADAL" clId="{6D6C6834-33B9-4EF9-94AE-AC1C1DCAA834}" dt="2024-01-22T20:23:07.657" v="70" actId="478"/>
          <ac:picMkLst>
            <pc:docMk/>
            <pc:sldMk cId="6453335" sldId="2147479578"/>
            <ac:picMk id="8" creationId="{64C8B7ED-14AD-7F9F-D98D-A975585D423E}"/>
          </ac:picMkLst>
        </pc:picChg>
        <pc:cxnChg chg="add mod ord">
          <ac:chgData name="Greene, Suzanne (S)" userId="02577a43-e047-41b5-b60f-018546c42e33" providerId="ADAL" clId="{6D6C6834-33B9-4EF9-94AE-AC1C1DCAA834}" dt="2024-01-23T05:38:24.231" v="389" actId="167"/>
          <ac:cxnSpMkLst>
            <pc:docMk/>
            <pc:sldMk cId="6453335" sldId="2147479578"/>
            <ac:cxnSpMk id="9" creationId="{73C72399-2F4A-8E9D-3947-A460C698DC37}"/>
          </ac:cxnSpMkLst>
        </pc:cxnChg>
        <pc:cxnChg chg="add mod ord">
          <ac:chgData name="Greene, Suzanne (S)" userId="02577a43-e047-41b5-b60f-018546c42e33" providerId="ADAL" clId="{6D6C6834-33B9-4EF9-94AE-AC1C1DCAA834}" dt="2024-01-22T20:36:24.543" v="252" actId="14100"/>
          <ac:cxnSpMkLst>
            <pc:docMk/>
            <pc:sldMk cId="6453335" sldId="2147479578"/>
            <ac:cxnSpMk id="12" creationId="{7B8D9CFE-76B8-8649-02EF-1A53CED11F63}"/>
          </ac:cxnSpMkLst>
        </pc:cxnChg>
      </pc:sldChg>
      <pc:sldChg chg="del">
        <pc:chgData name="Greene, Suzanne (S)" userId="02577a43-e047-41b5-b60f-018546c42e33" providerId="ADAL" clId="{6D6C6834-33B9-4EF9-94AE-AC1C1DCAA834}" dt="2024-01-22T19:41:46.409" v="17" actId="47"/>
        <pc:sldMkLst>
          <pc:docMk/>
          <pc:sldMk cId="294409287" sldId="2147479579"/>
        </pc:sldMkLst>
      </pc:sldChg>
      <pc:sldChg chg="add del">
        <pc:chgData name="Greene, Suzanne (S)" userId="02577a43-e047-41b5-b60f-018546c42e33" providerId="ADAL" clId="{6D6C6834-33B9-4EF9-94AE-AC1C1DCAA834}" dt="2024-01-22T20:12:33.858" v="55" actId="47"/>
        <pc:sldMkLst>
          <pc:docMk/>
          <pc:sldMk cId="185562433" sldId="2147479614"/>
        </pc:sldMkLst>
      </pc:sldChg>
      <pc:sldChg chg="modSp del mod ord">
        <pc:chgData name="Greene, Suzanne (S)" userId="02577a43-e047-41b5-b60f-018546c42e33" providerId="ADAL" clId="{6D6C6834-33B9-4EF9-94AE-AC1C1DCAA834}" dt="2024-01-22T20:47:16.373" v="327" actId="47"/>
        <pc:sldMkLst>
          <pc:docMk/>
          <pc:sldMk cId="604145253" sldId="2147479615"/>
        </pc:sldMkLst>
        <pc:spChg chg="mod">
          <ac:chgData name="Greene, Suzanne (S)" userId="02577a43-e047-41b5-b60f-018546c42e33" providerId="ADAL" clId="{6D6C6834-33B9-4EF9-94AE-AC1C1DCAA834}" dt="2024-01-22T20:45:11.986" v="308"/>
          <ac:spMkLst>
            <pc:docMk/>
            <pc:sldMk cId="604145253" sldId="2147479615"/>
            <ac:spMk id="2" creationId="{3AA14358-743F-8A58-17BC-29A86376CAB4}"/>
          </ac:spMkLst>
        </pc:spChg>
        <pc:spChg chg="mod">
          <ac:chgData name="Greene, Suzanne (S)" userId="02577a43-e047-41b5-b60f-018546c42e33" providerId="ADAL" clId="{6D6C6834-33B9-4EF9-94AE-AC1C1DCAA834}" dt="2024-01-22T20:41:17.902" v="286" actId="20577"/>
          <ac:spMkLst>
            <pc:docMk/>
            <pc:sldMk cId="604145253" sldId="2147479615"/>
            <ac:spMk id="8" creationId="{8A9B63BD-8856-508F-D591-A4778989B381}"/>
          </ac:spMkLst>
        </pc:spChg>
      </pc:sldChg>
      <pc:sldChg chg="modSp mod">
        <pc:chgData name="Greene, Suzanne (S)" userId="02577a43-e047-41b5-b60f-018546c42e33" providerId="ADAL" clId="{6D6C6834-33B9-4EF9-94AE-AC1C1DCAA834}" dt="2024-01-22T20:48:11.277" v="355" actId="207"/>
        <pc:sldMkLst>
          <pc:docMk/>
          <pc:sldMk cId="2109524048" sldId="2147479616"/>
        </pc:sldMkLst>
        <pc:spChg chg="mod">
          <ac:chgData name="Greene, Suzanne (S)" userId="02577a43-e047-41b5-b60f-018546c42e33" providerId="ADAL" clId="{6D6C6834-33B9-4EF9-94AE-AC1C1DCAA834}" dt="2024-01-22T20:45:11.986" v="308"/>
          <ac:spMkLst>
            <pc:docMk/>
            <pc:sldMk cId="2109524048" sldId="2147479616"/>
            <ac:spMk id="2" creationId="{0292FF73-9B8A-B428-73B5-9AC04C92B8EF}"/>
          </ac:spMkLst>
        </pc:spChg>
        <pc:spChg chg="mod">
          <ac:chgData name="Greene, Suzanne (S)" userId="02577a43-e047-41b5-b60f-018546c42e33" providerId="ADAL" clId="{6D6C6834-33B9-4EF9-94AE-AC1C1DCAA834}" dt="2024-01-22T20:47:52.429" v="354" actId="207"/>
          <ac:spMkLst>
            <pc:docMk/>
            <pc:sldMk cId="2109524048" sldId="2147479616"/>
            <ac:spMk id="6" creationId="{BF3C1FE0-E60B-D592-628D-863EB095BD37}"/>
          </ac:spMkLst>
        </pc:spChg>
        <pc:spChg chg="mod">
          <ac:chgData name="Greene, Suzanne (S)" userId="02577a43-e047-41b5-b60f-018546c42e33" providerId="ADAL" clId="{6D6C6834-33B9-4EF9-94AE-AC1C1DCAA834}" dt="2024-01-22T20:47:52.429" v="354" actId="207"/>
          <ac:spMkLst>
            <pc:docMk/>
            <pc:sldMk cId="2109524048" sldId="2147479616"/>
            <ac:spMk id="7" creationId="{204871C1-3D09-0435-D72D-1D38F5EC2073}"/>
          </ac:spMkLst>
        </pc:spChg>
        <pc:spChg chg="mod">
          <ac:chgData name="Greene, Suzanne (S)" userId="02577a43-e047-41b5-b60f-018546c42e33" providerId="ADAL" clId="{6D6C6834-33B9-4EF9-94AE-AC1C1DCAA834}" dt="2024-01-22T20:47:52.429" v="354" actId="207"/>
          <ac:spMkLst>
            <pc:docMk/>
            <pc:sldMk cId="2109524048" sldId="2147479616"/>
            <ac:spMk id="8" creationId="{4A0BA7CA-8BC8-3372-D7F2-0C4788E65518}"/>
          </ac:spMkLst>
        </pc:spChg>
        <pc:spChg chg="mod">
          <ac:chgData name="Greene, Suzanne (S)" userId="02577a43-e047-41b5-b60f-018546c42e33" providerId="ADAL" clId="{6D6C6834-33B9-4EF9-94AE-AC1C1DCAA834}" dt="2024-01-22T20:47:52.429" v="354" actId="207"/>
          <ac:spMkLst>
            <pc:docMk/>
            <pc:sldMk cId="2109524048" sldId="2147479616"/>
            <ac:spMk id="9" creationId="{188D9EEF-D590-53E8-8CB2-E366BFDF22D8}"/>
          </ac:spMkLst>
        </pc:spChg>
        <pc:spChg chg="mod">
          <ac:chgData name="Greene, Suzanne (S)" userId="02577a43-e047-41b5-b60f-018546c42e33" providerId="ADAL" clId="{6D6C6834-33B9-4EF9-94AE-AC1C1DCAA834}" dt="2024-01-22T20:46:47.547" v="323" actId="207"/>
          <ac:spMkLst>
            <pc:docMk/>
            <pc:sldMk cId="2109524048" sldId="2147479616"/>
            <ac:spMk id="47" creationId="{7AF834EE-0B4C-1209-642E-AFF4CFA39B94}"/>
          </ac:spMkLst>
        </pc:spChg>
        <pc:spChg chg="mod">
          <ac:chgData name="Greene, Suzanne (S)" userId="02577a43-e047-41b5-b60f-018546c42e33" providerId="ADAL" clId="{6D6C6834-33B9-4EF9-94AE-AC1C1DCAA834}" dt="2024-01-22T20:48:11.277" v="355" actId="207"/>
          <ac:spMkLst>
            <pc:docMk/>
            <pc:sldMk cId="2109524048" sldId="2147479616"/>
            <ac:spMk id="69" creationId="{E1CF753F-C6E0-DAA5-BB04-44E506C8E409}"/>
          </ac:spMkLst>
        </pc:spChg>
      </pc:sldChg>
      <pc:sldChg chg="add del">
        <pc:chgData name="Greene, Suzanne (S)" userId="02577a43-e047-41b5-b60f-018546c42e33" providerId="ADAL" clId="{6D6C6834-33B9-4EF9-94AE-AC1C1DCAA834}" dt="2024-01-22T20:47:13.530" v="326" actId="47"/>
        <pc:sldMkLst>
          <pc:docMk/>
          <pc:sldMk cId="902619895" sldId="2147479617"/>
        </pc:sldMkLst>
      </pc:sldChg>
      <pc:sldChg chg="modSp add mod">
        <pc:chgData name="Greene, Suzanne (S)" userId="02577a43-e047-41b5-b60f-018546c42e33" providerId="ADAL" clId="{6D6C6834-33B9-4EF9-94AE-AC1C1DCAA834}" dt="2024-01-22T20:53:16.258" v="387" actId="207"/>
        <pc:sldMkLst>
          <pc:docMk/>
          <pc:sldMk cId="1601080348" sldId="2147479618"/>
        </pc:sldMkLst>
        <pc:spChg chg="mod">
          <ac:chgData name="Greene, Suzanne (S)" userId="02577a43-e047-41b5-b60f-018546c42e33" providerId="ADAL" clId="{6D6C6834-33B9-4EF9-94AE-AC1C1DCAA834}" dt="2024-01-22T20:53:16.258" v="387" actId="207"/>
          <ac:spMkLst>
            <pc:docMk/>
            <pc:sldMk cId="1601080348" sldId="2147479618"/>
            <ac:spMk id="2" creationId="{3AA14358-743F-8A58-17BC-29A86376CAB4}"/>
          </ac:spMkLst>
        </pc:spChg>
        <pc:spChg chg="mod">
          <ac:chgData name="Greene, Suzanne (S)" userId="02577a43-e047-41b5-b60f-018546c42e33" providerId="ADAL" clId="{6D6C6834-33B9-4EF9-94AE-AC1C1DCAA834}" dt="2024-01-22T20:47:27.052" v="352" actId="20577"/>
          <ac:spMkLst>
            <pc:docMk/>
            <pc:sldMk cId="1601080348" sldId="2147479618"/>
            <ac:spMk id="8" creationId="{8A9B63BD-8856-508F-D591-A4778989B381}"/>
          </ac:spMkLst>
        </pc:spChg>
      </pc:sldChg>
      <pc:sldChg chg="del">
        <pc:chgData name="Greene, Suzanne (S)" userId="02577a43-e047-41b5-b60f-018546c42e33" providerId="ADAL" clId="{6D6C6834-33B9-4EF9-94AE-AC1C1DCAA834}" dt="2024-01-22T19:40:38.037" v="5" actId="47"/>
        <pc:sldMkLst>
          <pc:docMk/>
          <pc:sldMk cId="141910253" sldId="2147479623"/>
        </pc:sldMkLst>
      </pc:sldChg>
      <pc:sldChg chg="del">
        <pc:chgData name="Greene, Suzanne (S)" userId="02577a43-e047-41b5-b60f-018546c42e33" providerId="ADAL" clId="{6D6C6834-33B9-4EF9-94AE-AC1C1DCAA834}" dt="2024-01-22T19:25:01.636" v="1" actId="47"/>
        <pc:sldMkLst>
          <pc:docMk/>
          <pc:sldMk cId="411991198" sldId="2147479624"/>
        </pc:sldMkLst>
      </pc:sldChg>
      <pc:sldMasterChg chg="modSldLayout">
        <pc:chgData name="Greene, Suzanne (S)" userId="02577a43-e047-41b5-b60f-018546c42e33" providerId="ADAL" clId="{6D6C6834-33B9-4EF9-94AE-AC1C1DCAA834}" dt="2024-01-22T19:53:01.002" v="20" actId="14826"/>
        <pc:sldMasterMkLst>
          <pc:docMk/>
          <pc:sldMasterMk cId="1360480745" sldId="2147483648"/>
        </pc:sldMasterMkLst>
        <pc:sldLayoutChg chg="modSp">
          <pc:chgData name="Greene, Suzanne (S)" userId="02577a43-e047-41b5-b60f-018546c42e33" providerId="ADAL" clId="{6D6C6834-33B9-4EF9-94AE-AC1C1DCAA834}" dt="2024-01-22T19:53:01.002" v="20" actId="14826"/>
          <pc:sldLayoutMkLst>
            <pc:docMk/>
            <pc:sldMasterMk cId="1360480745" sldId="2147483648"/>
            <pc:sldLayoutMk cId="435959397" sldId="2147483676"/>
          </pc:sldLayoutMkLst>
          <pc:picChg chg="mod">
            <ac:chgData name="Greene, Suzanne (S)" userId="02577a43-e047-41b5-b60f-018546c42e33" providerId="ADAL" clId="{6D6C6834-33B9-4EF9-94AE-AC1C1DCAA834}" dt="2024-01-22T19:53:01.002" v="20" actId="14826"/>
            <ac:picMkLst>
              <pc:docMk/>
              <pc:sldMasterMk cId="1360480745" sldId="2147483648"/>
              <pc:sldLayoutMk cId="435959397" sldId="2147483676"/>
              <ac:picMk id="2" creationId="{BC91E44D-1E88-45EB-9920-D99012BFDD42}"/>
            </ac:picMkLst>
          </pc:picChg>
        </pc:sldLayoutChg>
      </pc:sldMasterChg>
      <pc:sldMasterChg chg="addSldLayout delSldLayout">
        <pc:chgData name="Greene, Suzanne (S)" userId="02577a43-e047-41b5-b60f-018546c42e33" providerId="ADAL" clId="{6D6C6834-33B9-4EF9-94AE-AC1C1DCAA834}" dt="2024-01-22T20:46:15.278" v="322" actId="2696"/>
        <pc:sldMasterMkLst>
          <pc:docMk/>
          <pc:sldMasterMk cId="3291084296" sldId="2147483673"/>
        </pc:sldMasterMkLst>
        <pc:sldLayoutChg chg="add del">
          <pc:chgData name="Greene, Suzanne (S)" userId="02577a43-e047-41b5-b60f-018546c42e33" providerId="ADAL" clId="{6D6C6834-33B9-4EF9-94AE-AC1C1DCAA834}" dt="2024-01-22T20:46:14.696" v="321" actId="2696"/>
          <pc:sldLayoutMkLst>
            <pc:docMk/>
            <pc:sldMasterMk cId="3291084296" sldId="2147483673"/>
            <pc:sldLayoutMk cId="3077795661" sldId="2147483685"/>
          </pc:sldLayoutMkLst>
        </pc:sldLayoutChg>
        <pc:sldLayoutChg chg="add del">
          <pc:chgData name="Greene, Suzanne (S)" userId="02577a43-e047-41b5-b60f-018546c42e33" providerId="ADAL" clId="{6D6C6834-33B9-4EF9-94AE-AC1C1DCAA834}" dt="2024-01-22T20:46:15.278" v="322" actId="2696"/>
          <pc:sldLayoutMkLst>
            <pc:docMk/>
            <pc:sldMasterMk cId="3291084296" sldId="2147483673"/>
            <pc:sldLayoutMk cId="1463863695" sldId="2147485166"/>
          </pc:sldLayoutMkLst>
        </pc:sldLayoutChg>
      </pc:sldMasterChg>
      <pc:sldMasterChg chg="addSldLayout delSldLayout">
        <pc:chgData name="Greene, Suzanne (S)" userId="02577a43-e047-41b5-b60f-018546c42e33" providerId="ADAL" clId="{6D6C6834-33B9-4EF9-94AE-AC1C1DCAA834}" dt="2024-01-22T20:46:14.021" v="320" actId="2696"/>
        <pc:sldMasterMkLst>
          <pc:docMk/>
          <pc:sldMasterMk cId="1231203199" sldId="2147483700"/>
        </pc:sldMasterMkLst>
        <pc:sldLayoutChg chg="del">
          <pc:chgData name="Greene, Suzanne (S)" userId="02577a43-e047-41b5-b60f-018546c42e33" providerId="ADAL" clId="{6D6C6834-33B9-4EF9-94AE-AC1C1DCAA834}" dt="2024-01-22T20:45:20.899" v="312" actId="2696"/>
          <pc:sldLayoutMkLst>
            <pc:docMk/>
            <pc:sldMasterMk cId="1231203199" sldId="2147483700"/>
            <pc:sldLayoutMk cId="355428815" sldId="2147483702"/>
          </pc:sldLayoutMkLst>
        </pc:sldLayoutChg>
        <pc:sldLayoutChg chg="del">
          <pc:chgData name="Greene, Suzanne (S)" userId="02577a43-e047-41b5-b60f-018546c42e33" providerId="ADAL" clId="{6D6C6834-33B9-4EF9-94AE-AC1C1DCAA834}" dt="2024-01-22T20:45:15.862" v="309" actId="2696"/>
          <pc:sldLayoutMkLst>
            <pc:docMk/>
            <pc:sldMasterMk cId="1231203199" sldId="2147483700"/>
            <pc:sldLayoutMk cId="425969949" sldId="2147483703"/>
          </pc:sldLayoutMkLst>
        </pc:sldLayoutChg>
        <pc:sldLayoutChg chg="del">
          <pc:chgData name="Greene, Suzanne (S)" userId="02577a43-e047-41b5-b60f-018546c42e33" providerId="ADAL" clId="{6D6C6834-33B9-4EF9-94AE-AC1C1DCAA834}" dt="2024-01-22T20:45:16.679" v="310" actId="2696"/>
          <pc:sldLayoutMkLst>
            <pc:docMk/>
            <pc:sldMasterMk cId="1231203199" sldId="2147483700"/>
            <pc:sldLayoutMk cId="1908593769" sldId="2147483704"/>
          </pc:sldLayoutMkLst>
        </pc:sldLayoutChg>
        <pc:sldLayoutChg chg="del">
          <pc:chgData name="Greene, Suzanne (S)" userId="02577a43-e047-41b5-b60f-018546c42e33" providerId="ADAL" clId="{6D6C6834-33B9-4EF9-94AE-AC1C1DCAA834}" dt="2024-01-22T20:45:17.288" v="311" actId="2696"/>
          <pc:sldLayoutMkLst>
            <pc:docMk/>
            <pc:sldMasterMk cId="1231203199" sldId="2147483700"/>
            <pc:sldLayoutMk cId="3970569582" sldId="2147483705"/>
          </pc:sldLayoutMkLst>
        </pc:sldLayoutChg>
        <pc:sldLayoutChg chg="add del">
          <pc:chgData name="Greene, Suzanne (S)" userId="02577a43-e047-41b5-b60f-018546c42e33" providerId="ADAL" clId="{6D6C6834-33B9-4EF9-94AE-AC1C1DCAA834}" dt="2024-01-22T20:46:14.021" v="320" actId="2696"/>
          <pc:sldLayoutMkLst>
            <pc:docMk/>
            <pc:sldMasterMk cId="1231203199" sldId="2147483700"/>
            <pc:sldLayoutMk cId="2545487479" sldId="2147483710"/>
          </pc:sldLayoutMkLst>
        </pc:sldLayoutChg>
        <pc:sldLayoutChg chg="add del">
          <pc:chgData name="Greene, Suzanne (S)" userId="02577a43-e047-41b5-b60f-018546c42e33" providerId="ADAL" clId="{6D6C6834-33B9-4EF9-94AE-AC1C1DCAA834}" dt="2024-01-22T20:46:13.888" v="319" actId="2696"/>
          <pc:sldLayoutMkLst>
            <pc:docMk/>
            <pc:sldMasterMk cId="1231203199" sldId="2147483700"/>
            <pc:sldLayoutMk cId="1312991313" sldId="2147483714"/>
          </pc:sldLayoutMkLst>
        </pc:sldLayoutChg>
      </pc:sldMasterChg>
      <pc:sldMasterChg chg="addSldLayout delSldLayout">
        <pc:chgData name="Greene, Suzanne (S)" userId="02577a43-e047-41b5-b60f-018546c42e33" providerId="ADAL" clId="{6D6C6834-33B9-4EF9-94AE-AC1C1DCAA834}" dt="2024-01-22T20:46:11.140" v="318" actId="2696"/>
        <pc:sldMasterMkLst>
          <pc:docMk/>
          <pc:sldMasterMk cId="1043238479" sldId="2147484829"/>
        </pc:sldMasterMkLst>
        <pc:sldLayoutChg chg="add del">
          <pc:chgData name="Greene, Suzanne (S)" userId="02577a43-e047-41b5-b60f-018546c42e33" providerId="ADAL" clId="{6D6C6834-33B9-4EF9-94AE-AC1C1DCAA834}" dt="2024-01-22T20:46:11.140" v="318" actId="2696"/>
          <pc:sldLayoutMkLst>
            <pc:docMk/>
            <pc:sldMasterMk cId="1043238479" sldId="2147484829"/>
            <pc:sldLayoutMk cId="4088632915" sldId="2147484830"/>
          </pc:sldLayoutMkLst>
        </pc:sldLayoutChg>
        <pc:sldLayoutChg chg="del">
          <pc:chgData name="Greene, Suzanne (S)" userId="02577a43-e047-41b5-b60f-018546c42e33" providerId="ADAL" clId="{6D6C6834-33B9-4EF9-94AE-AC1C1DCAA834}" dt="2024-01-22T20:07:06.704" v="51" actId="47"/>
          <pc:sldLayoutMkLst>
            <pc:docMk/>
            <pc:sldMasterMk cId="1043238479" sldId="2147484829"/>
            <pc:sldLayoutMk cId="1576703588" sldId="2147484902"/>
          </pc:sldLayoutMkLst>
        </pc:sldLayoutChg>
      </pc:sldMasterChg>
      <pc:sldMasterChg chg="del delSldLayout">
        <pc:chgData name="Greene, Suzanne (S)" userId="02577a43-e047-41b5-b60f-018546c42e33" providerId="ADAL" clId="{6D6C6834-33B9-4EF9-94AE-AC1C1DCAA834}" dt="2024-01-22T20:45:10.874" v="307" actId="2696"/>
        <pc:sldMasterMkLst>
          <pc:docMk/>
          <pc:sldMasterMk cId="2056468178" sldId="2147485099"/>
        </pc:sldMasterMkLst>
        <pc:sldLayoutChg chg="del">
          <pc:chgData name="Greene, Suzanne (S)" userId="02577a43-e047-41b5-b60f-018546c42e33" providerId="ADAL" clId="{6D6C6834-33B9-4EF9-94AE-AC1C1DCAA834}" dt="2024-01-22T20:45:10.746" v="306" actId="2696"/>
          <pc:sldLayoutMkLst>
            <pc:docMk/>
            <pc:sldMasterMk cId="2056468178" sldId="2147485099"/>
            <pc:sldLayoutMk cId="4115688849" sldId="2147485103"/>
          </pc:sldLayoutMkLst>
        </pc:sldLayoutChg>
      </pc:sldMasterChg>
      <pc:sldMasterChg chg="del delSldLayout">
        <pc:chgData name="Greene, Suzanne (S)" userId="02577a43-e047-41b5-b60f-018546c42e33" providerId="ADAL" clId="{6D6C6834-33B9-4EF9-94AE-AC1C1DCAA834}" dt="2024-01-22T20:45:06.495" v="294" actId="2696"/>
        <pc:sldMasterMkLst>
          <pc:docMk/>
          <pc:sldMasterMk cId="706672649" sldId="2147485126"/>
        </pc:sldMasterMkLst>
        <pc:sldLayoutChg chg="del">
          <pc:chgData name="Greene, Suzanne (S)" userId="02577a43-e047-41b5-b60f-018546c42e33" providerId="ADAL" clId="{6D6C6834-33B9-4EF9-94AE-AC1C1DCAA834}" dt="2024-01-22T20:45:06.317" v="287" actId="2696"/>
          <pc:sldLayoutMkLst>
            <pc:docMk/>
            <pc:sldMasterMk cId="706672649" sldId="2147485126"/>
            <pc:sldLayoutMk cId="2190915176" sldId="2147485127"/>
          </pc:sldLayoutMkLst>
        </pc:sldLayoutChg>
        <pc:sldLayoutChg chg="del">
          <pc:chgData name="Greene, Suzanne (S)" userId="02577a43-e047-41b5-b60f-018546c42e33" providerId="ADAL" clId="{6D6C6834-33B9-4EF9-94AE-AC1C1DCAA834}" dt="2024-01-22T20:45:06.346" v="288" actId="2696"/>
          <pc:sldLayoutMkLst>
            <pc:docMk/>
            <pc:sldMasterMk cId="706672649" sldId="2147485126"/>
            <pc:sldLayoutMk cId="154915062" sldId="2147485128"/>
          </pc:sldLayoutMkLst>
        </pc:sldLayoutChg>
        <pc:sldLayoutChg chg="del">
          <pc:chgData name="Greene, Suzanne (S)" userId="02577a43-e047-41b5-b60f-018546c42e33" providerId="ADAL" clId="{6D6C6834-33B9-4EF9-94AE-AC1C1DCAA834}" dt="2024-01-22T20:45:06.392" v="289" actId="2696"/>
          <pc:sldLayoutMkLst>
            <pc:docMk/>
            <pc:sldMasterMk cId="706672649" sldId="2147485126"/>
            <pc:sldLayoutMk cId="3534150358" sldId="2147485129"/>
          </pc:sldLayoutMkLst>
        </pc:sldLayoutChg>
        <pc:sldLayoutChg chg="del">
          <pc:chgData name="Greene, Suzanne (S)" userId="02577a43-e047-41b5-b60f-018546c42e33" providerId="ADAL" clId="{6D6C6834-33B9-4EF9-94AE-AC1C1DCAA834}" dt="2024-01-22T20:45:06.410" v="290" actId="2696"/>
          <pc:sldLayoutMkLst>
            <pc:docMk/>
            <pc:sldMasterMk cId="706672649" sldId="2147485126"/>
            <pc:sldLayoutMk cId="3504859079" sldId="2147485130"/>
          </pc:sldLayoutMkLst>
        </pc:sldLayoutChg>
        <pc:sldLayoutChg chg="del">
          <pc:chgData name="Greene, Suzanne (S)" userId="02577a43-e047-41b5-b60f-018546c42e33" providerId="ADAL" clId="{6D6C6834-33B9-4EF9-94AE-AC1C1DCAA834}" dt="2024-01-22T20:45:06.425" v="291" actId="2696"/>
          <pc:sldLayoutMkLst>
            <pc:docMk/>
            <pc:sldMasterMk cId="706672649" sldId="2147485126"/>
            <pc:sldLayoutMk cId="3425268166" sldId="2147485131"/>
          </pc:sldLayoutMkLst>
        </pc:sldLayoutChg>
        <pc:sldLayoutChg chg="del">
          <pc:chgData name="Greene, Suzanne (S)" userId="02577a43-e047-41b5-b60f-018546c42e33" providerId="ADAL" clId="{6D6C6834-33B9-4EF9-94AE-AC1C1DCAA834}" dt="2024-01-22T20:45:06.441" v="292" actId="2696"/>
          <pc:sldLayoutMkLst>
            <pc:docMk/>
            <pc:sldMasterMk cId="706672649" sldId="2147485126"/>
            <pc:sldLayoutMk cId="865363253" sldId="2147485132"/>
          </pc:sldLayoutMkLst>
        </pc:sldLayoutChg>
        <pc:sldLayoutChg chg="del">
          <pc:chgData name="Greene, Suzanne (S)" userId="02577a43-e047-41b5-b60f-018546c42e33" providerId="ADAL" clId="{6D6C6834-33B9-4EF9-94AE-AC1C1DCAA834}" dt="2024-01-22T20:45:06.458" v="293" actId="2696"/>
          <pc:sldLayoutMkLst>
            <pc:docMk/>
            <pc:sldMasterMk cId="706672649" sldId="2147485126"/>
            <pc:sldLayoutMk cId="1273196753" sldId="2147485133"/>
          </pc:sldLayoutMkLst>
        </pc:sldLayoutChg>
      </pc:sldMasterChg>
      <pc:sldMasterChg chg="del delSldLayout">
        <pc:chgData name="Greene, Suzanne (S)" userId="02577a43-e047-41b5-b60f-018546c42e33" providerId="ADAL" clId="{6D6C6834-33B9-4EF9-94AE-AC1C1DCAA834}" dt="2024-01-22T20:45:09.008" v="305" actId="2696"/>
        <pc:sldMasterMkLst>
          <pc:docMk/>
          <pc:sldMasterMk cId="3382983579" sldId="2147485155"/>
        </pc:sldMasterMkLst>
        <pc:sldLayoutChg chg="del">
          <pc:chgData name="Greene, Suzanne (S)" userId="02577a43-e047-41b5-b60f-018546c42e33" providerId="ADAL" clId="{6D6C6834-33B9-4EF9-94AE-AC1C1DCAA834}" dt="2024-01-22T20:45:08.673" v="295" actId="2696"/>
          <pc:sldLayoutMkLst>
            <pc:docMk/>
            <pc:sldMasterMk cId="3382983579" sldId="2147485155"/>
            <pc:sldLayoutMk cId="67985923" sldId="2147485156"/>
          </pc:sldLayoutMkLst>
        </pc:sldLayoutChg>
        <pc:sldLayoutChg chg="del">
          <pc:chgData name="Greene, Suzanne (S)" userId="02577a43-e047-41b5-b60f-018546c42e33" providerId="ADAL" clId="{6D6C6834-33B9-4EF9-94AE-AC1C1DCAA834}" dt="2024-01-22T20:45:08.757" v="296" actId="2696"/>
          <pc:sldLayoutMkLst>
            <pc:docMk/>
            <pc:sldMasterMk cId="3382983579" sldId="2147485155"/>
            <pc:sldLayoutMk cId="3866308148" sldId="2147485157"/>
          </pc:sldLayoutMkLst>
        </pc:sldLayoutChg>
        <pc:sldLayoutChg chg="del">
          <pc:chgData name="Greene, Suzanne (S)" userId="02577a43-e047-41b5-b60f-018546c42e33" providerId="ADAL" clId="{6D6C6834-33B9-4EF9-94AE-AC1C1DCAA834}" dt="2024-01-22T20:45:08.778" v="297" actId="2696"/>
          <pc:sldLayoutMkLst>
            <pc:docMk/>
            <pc:sldMasterMk cId="3382983579" sldId="2147485155"/>
            <pc:sldLayoutMk cId="1679992176" sldId="2147485158"/>
          </pc:sldLayoutMkLst>
        </pc:sldLayoutChg>
        <pc:sldLayoutChg chg="del">
          <pc:chgData name="Greene, Suzanne (S)" userId="02577a43-e047-41b5-b60f-018546c42e33" providerId="ADAL" clId="{6D6C6834-33B9-4EF9-94AE-AC1C1DCAA834}" dt="2024-01-22T20:45:08.792" v="298" actId="2696"/>
          <pc:sldLayoutMkLst>
            <pc:docMk/>
            <pc:sldMasterMk cId="3382983579" sldId="2147485155"/>
            <pc:sldLayoutMk cId="598635928" sldId="2147485159"/>
          </pc:sldLayoutMkLst>
        </pc:sldLayoutChg>
        <pc:sldLayoutChg chg="del">
          <pc:chgData name="Greene, Suzanne (S)" userId="02577a43-e047-41b5-b60f-018546c42e33" providerId="ADAL" clId="{6D6C6834-33B9-4EF9-94AE-AC1C1DCAA834}" dt="2024-01-22T20:45:08.808" v="299" actId="2696"/>
          <pc:sldLayoutMkLst>
            <pc:docMk/>
            <pc:sldMasterMk cId="3382983579" sldId="2147485155"/>
            <pc:sldLayoutMk cId="2252343769" sldId="2147485160"/>
          </pc:sldLayoutMkLst>
        </pc:sldLayoutChg>
        <pc:sldLayoutChg chg="del">
          <pc:chgData name="Greene, Suzanne (S)" userId="02577a43-e047-41b5-b60f-018546c42e33" providerId="ADAL" clId="{6D6C6834-33B9-4EF9-94AE-AC1C1DCAA834}" dt="2024-01-22T20:45:08.823" v="300" actId="2696"/>
          <pc:sldLayoutMkLst>
            <pc:docMk/>
            <pc:sldMasterMk cId="3382983579" sldId="2147485155"/>
            <pc:sldLayoutMk cId="1140894573" sldId="2147485161"/>
          </pc:sldLayoutMkLst>
        </pc:sldLayoutChg>
        <pc:sldLayoutChg chg="del">
          <pc:chgData name="Greene, Suzanne (S)" userId="02577a43-e047-41b5-b60f-018546c42e33" providerId="ADAL" clId="{6D6C6834-33B9-4EF9-94AE-AC1C1DCAA834}" dt="2024-01-22T20:45:08.838" v="301" actId="2696"/>
          <pc:sldLayoutMkLst>
            <pc:docMk/>
            <pc:sldMasterMk cId="3382983579" sldId="2147485155"/>
            <pc:sldLayoutMk cId="2532773478" sldId="2147485162"/>
          </pc:sldLayoutMkLst>
        </pc:sldLayoutChg>
        <pc:sldLayoutChg chg="del">
          <pc:chgData name="Greene, Suzanne (S)" userId="02577a43-e047-41b5-b60f-018546c42e33" providerId="ADAL" clId="{6D6C6834-33B9-4EF9-94AE-AC1C1DCAA834}" dt="2024-01-22T20:45:08.858" v="302" actId="2696"/>
          <pc:sldLayoutMkLst>
            <pc:docMk/>
            <pc:sldMasterMk cId="3382983579" sldId="2147485155"/>
            <pc:sldLayoutMk cId="2461814611" sldId="2147485163"/>
          </pc:sldLayoutMkLst>
        </pc:sldLayoutChg>
        <pc:sldLayoutChg chg="del">
          <pc:chgData name="Greene, Suzanne (S)" userId="02577a43-e047-41b5-b60f-018546c42e33" providerId="ADAL" clId="{6D6C6834-33B9-4EF9-94AE-AC1C1DCAA834}" dt="2024-01-22T20:45:08.930" v="303" actId="2696"/>
          <pc:sldLayoutMkLst>
            <pc:docMk/>
            <pc:sldMasterMk cId="3382983579" sldId="2147485155"/>
            <pc:sldLayoutMk cId="202209441" sldId="2147485164"/>
          </pc:sldLayoutMkLst>
        </pc:sldLayoutChg>
        <pc:sldLayoutChg chg="del">
          <pc:chgData name="Greene, Suzanne (S)" userId="02577a43-e047-41b5-b60f-018546c42e33" providerId="ADAL" clId="{6D6C6834-33B9-4EF9-94AE-AC1C1DCAA834}" dt="2024-01-22T20:45:08.945" v="304" actId="2696"/>
          <pc:sldLayoutMkLst>
            <pc:docMk/>
            <pc:sldMasterMk cId="3382983579" sldId="2147485155"/>
            <pc:sldLayoutMk cId="2418029254" sldId="2147485165"/>
          </pc:sldLayoutMkLst>
        </pc:sldLayoutChg>
      </pc:sldMasterChg>
      <pc:sldMasterChg chg="delSldLayout">
        <pc:chgData name="Greene, Suzanne (S)" userId="02577a43-e047-41b5-b60f-018546c42e33" providerId="ADAL" clId="{6D6C6834-33B9-4EF9-94AE-AC1C1DCAA834}" dt="2024-01-22T19:22:34.349" v="0" actId="47"/>
        <pc:sldMasterMkLst>
          <pc:docMk/>
          <pc:sldMasterMk cId="4024712021" sldId="2147485170"/>
        </pc:sldMasterMkLst>
        <pc:sldLayoutChg chg="del">
          <pc:chgData name="Greene, Suzanne (S)" userId="02577a43-e047-41b5-b60f-018546c42e33" providerId="ADAL" clId="{6D6C6834-33B9-4EF9-94AE-AC1C1DCAA834}" dt="2024-01-22T19:22:34.349" v="0" actId="47"/>
          <pc:sldLayoutMkLst>
            <pc:docMk/>
            <pc:sldMasterMk cId="4024712021" sldId="2147485170"/>
            <pc:sldLayoutMk cId="2843658804" sldId="2147485192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myoffice.bsnconnect.com/personal/ub02721_dow_com/Documents/Scope%203/CDP/Renewable%20energy_2023supplier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n-renewable</c:v>
                </c:pt>
              </c:strCache>
            </c:strRef>
          </c:tx>
          <c:spPr>
            <a:solidFill>
              <a:srgbClr val="A8B9CD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orporate Services</c:v>
                </c:pt>
                <c:pt idx="1">
                  <c:v>Raw Materials</c:v>
                </c:pt>
                <c:pt idx="2">
                  <c:v>Logistic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 formatCode="_(* #,##0_);_(* \(#,##0\);_(* &quot;-&quot;??_);_(@_)">
                  <c:v>2871336</c:v>
                </c:pt>
                <c:pt idx="1">
                  <c:v>979502236.99000013</c:v>
                </c:pt>
                <c:pt idx="2">
                  <c:v>615456397.18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4C-47B6-9AC5-93A1657C436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newable </c:v>
                </c:pt>
              </c:strCache>
            </c:strRef>
          </c:tx>
          <c:spPr>
            <a:solidFill>
              <a:srgbClr val="FFB7A8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Corporate Services</c:v>
                </c:pt>
                <c:pt idx="1">
                  <c:v>Raw Materials</c:v>
                </c:pt>
                <c:pt idx="2">
                  <c:v>Logistics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 formatCode="_(* #,##0_);_(* \(#,##0\);_(* &quot;-&quot;??_);_(@_)">
                  <c:v>16038785</c:v>
                </c:pt>
                <c:pt idx="1">
                  <c:v>88242982.309999987</c:v>
                </c:pt>
                <c:pt idx="2">
                  <c:v>20529255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4C-47B6-9AC5-93A1657C43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8"/>
        <c:overlap val="100"/>
        <c:axId val="524627679"/>
        <c:axId val="286505935"/>
      </c:barChart>
      <c:catAx>
        <c:axId val="5246276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6505935"/>
        <c:crosses val="autoZero"/>
        <c:auto val="1"/>
        <c:lblAlgn val="ctr"/>
        <c:lblOffset val="100"/>
        <c:noMultiLvlLbl val="0"/>
      </c:catAx>
      <c:valAx>
        <c:axId val="286505935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4627679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8.jpeg"/><Relationship Id="rId1" Type="http://schemas.openxmlformats.org/officeDocument/2006/relationships/image" Target="../media/image57.jpeg"/><Relationship Id="rId6" Type="http://schemas.openxmlformats.org/officeDocument/2006/relationships/image" Target="../media/image62.jpeg"/><Relationship Id="rId5" Type="http://schemas.openxmlformats.org/officeDocument/2006/relationships/image" Target="../media/image61.jpeg"/><Relationship Id="rId4" Type="http://schemas.openxmlformats.org/officeDocument/2006/relationships/image" Target="../media/image60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8.jpeg"/><Relationship Id="rId1" Type="http://schemas.openxmlformats.org/officeDocument/2006/relationships/image" Target="../media/image57.jpeg"/><Relationship Id="rId6" Type="http://schemas.openxmlformats.org/officeDocument/2006/relationships/image" Target="../media/image62.jpeg"/><Relationship Id="rId5" Type="http://schemas.openxmlformats.org/officeDocument/2006/relationships/image" Target="../media/image61.jpeg"/><Relationship Id="rId4" Type="http://schemas.openxmlformats.org/officeDocument/2006/relationships/image" Target="../media/image60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6560D62-F040-4BA2-A3AF-E55943095D1A}" type="doc">
      <dgm:prSet loTypeId="urn:microsoft.com/office/officeart/2008/layout/BendingPictureCaptionList" loCatId="pictur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92AAD224-5400-4630-8142-84F8FDC180BF}">
      <dgm:prSet phldrT="[Text]" custT="1"/>
      <dgm:spPr/>
      <dgm:t>
        <a:bodyPr/>
        <a:lstStyle/>
        <a:p>
          <a:r>
            <a:rPr lang="en-US" sz="1600" dirty="0"/>
            <a:t>Climate goals &amp; strategy</a:t>
          </a:r>
        </a:p>
      </dgm:t>
    </dgm:pt>
    <dgm:pt modelId="{B9496A2C-DB71-46E4-8408-07E113BB5A0D}" type="parTrans" cxnId="{AAE34B99-DC44-49EB-A8EA-30E94A130034}">
      <dgm:prSet/>
      <dgm:spPr/>
      <dgm:t>
        <a:bodyPr/>
        <a:lstStyle/>
        <a:p>
          <a:endParaRPr lang="en-US" sz="2000"/>
        </a:p>
      </dgm:t>
    </dgm:pt>
    <dgm:pt modelId="{7F1386FB-F666-40F0-9EA3-DBAD537E9BA6}" type="sibTrans" cxnId="{AAE34B99-DC44-49EB-A8EA-30E94A130034}">
      <dgm:prSet/>
      <dgm:spPr/>
      <dgm:t>
        <a:bodyPr/>
        <a:lstStyle/>
        <a:p>
          <a:endParaRPr lang="en-US" sz="2000"/>
        </a:p>
      </dgm:t>
    </dgm:pt>
    <dgm:pt modelId="{D34EEFA2-470B-4E6C-A15F-0C4D81684085}">
      <dgm:prSet phldrT="[Text]" custT="1"/>
      <dgm:spPr/>
      <dgm:t>
        <a:bodyPr/>
        <a:lstStyle/>
        <a:p>
          <a:r>
            <a:rPr lang="en-US" sz="1600" dirty="0"/>
            <a:t>Robust scope 1, 2, and 3 GHG accounting</a:t>
          </a:r>
        </a:p>
      </dgm:t>
    </dgm:pt>
    <dgm:pt modelId="{84E2E416-AF6E-4A13-B475-175268E2DD56}" type="parTrans" cxnId="{A1656AEE-DD75-4C4C-A4F3-F3284719C531}">
      <dgm:prSet/>
      <dgm:spPr/>
      <dgm:t>
        <a:bodyPr/>
        <a:lstStyle/>
        <a:p>
          <a:endParaRPr lang="en-US" sz="2000"/>
        </a:p>
      </dgm:t>
    </dgm:pt>
    <dgm:pt modelId="{164465F0-DA5E-4937-AECE-AFB7E57215B0}" type="sibTrans" cxnId="{A1656AEE-DD75-4C4C-A4F3-F3284719C531}">
      <dgm:prSet/>
      <dgm:spPr/>
      <dgm:t>
        <a:bodyPr/>
        <a:lstStyle/>
        <a:p>
          <a:endParaRPr lang="en-US" sz="2000"/>
        </a:p>
      </dgm:t>
    </dgm:pt>
    <dgm:pt modelId="{86F50B2D-E606-4D03-BF2C-8CCD32068ED5}">
      <dgm:prSet phldrT="[Text]" custT="1"/>
      <dgm:spPr/>
      <dgm:t>
        <a:bodyPr/>
        <a:lstStyle/>
        <a:p>
          <a:r>
            <a:rPr lang="en-US" sz="1600" dirty="0"/>
            <a:t>Carbon intensity metrics</a:t>
          </a:r>
        </a:p>
      </dgm:t>
    </dgm:pt>
    <dgm:pt modelId="{5D881604-1720-475C-A799-9A3B870D57ED}" type="parTrans" cxnId="{6D894465-3C4D-4B23-9953-B43747330694}">
      <dgm:prSet/>
      <dgm:spPr/>
      <dgm:t>
        <a:bodyPr/>
        <a:lstStyle/>
        <a:p>
          <a:endParaRPr lang="en-US" sz="2000"/>
        </a:p>
      </dgm:t>
    </dgm:pt>
    <dgm:pt modelId="{319FEB50-66BA-46A5-991A-9E95468509CF}" type="sibTrans" cxnId="{6D894465-3C4D-4B23-9953-B43747330694}">
      <dgm:prSet/>
      <dgm:spPr/>
      <dgm:t>
        <a:bodyPr/>
        <a:lstStyle/>
        <a:p>
          <a:endParaRPr lang="en-US" sz="2000"/>
        </a:p>
      </dgm:t>
    </dgm:pt>
    <dgm:pt modelId="{EA5ED22A-ABFE-4561-8813-5D92AE3C9B25}">
      <dgm:prSet phldrT="[Text]" custT="1"/>
      <dgm:spPr/>
      <dgm:t>
        <a:bodyPr/>
        <a:lstStyle/>
        <a:p>
          <a:r>
            <a:rPr lang="en-US" sz="1600" dirty="0"/>
            <a:t>Renewable energy use</a:t>
          </a:r>
        </a:p>
      </dgm:t>
    </dgm:pt>
    <dgm:pt modelId="{11DFA446-1DA9-4840-90BF-7206163FF301}" type="parTrans" cxnId="{1004C809-579F-4B2A-B648-4AED08B7F898}">
      <dgm:prSet/>
      <dgm:spPr/>
      <dgm:t>
        <a:bodyPr/>
        <a:lstStyle/>
        <a:p>
          <a:endParaRPr lang="en-US" sz="2000"/>
        </a:p>
      </dgm:t>
    </dgm:pt>
    <dgm:pt modelId="{49EEA9A6-C9C3-4B63-88A6-87248A97E0A0}" type="sibTrans" cxnId="{1004C809-579F-4B2A-B648-4AED08B7F898}">
      <dgm:prSet/>
      <dgm:spPr/>
      <dgm:t>
        <a:bodyPr/>
        <a:lstStyle/>
        <a:p>
          <a:endParaRPr lang="en-US" sz="2000"/>
        </a:p>
      </dgm:t>
    </dgm:pt>
    <dgm:pt modelId="{87A6720B-827B-413D-B14B-29EB4AE495A5}">
      <dgm:prSet phldrT="[Text]" custT="1"/>
      <dgm:spPr/>
      <dgm:t>
        <a:bodyPr/>
        <a:lstStyle/>
        <a:p>
          <a:r>
            <a:rPr lang="en-US" sz="1600" dirty="0"/>
            <a:t>Capital spend on climate</a:t>
          </a:r>
        </a:p>
      </dgm:t>
    </dgm:pt>
    <dgm:pt modelId="{ADC345A4-FA53-48B6-9C02-63D338832F43}" type="parTrans" cxnId="{B0D77906-C812-4AB3-9D24-29AB03F957CE}">
      <dgm:prSet/>
      <dgm:spPr/>
      <dgm:t>
        <a:bodyPr/>
        <a:lstStyle/>
        <a:p>
          <a:endParaRPr lang="en-US" sz="2000"/>
        </a:p>
      </dgm:t>
    </dgm:pt>
    <dgm:pt modelId="{D89CB25D-1B40-4726-85A4-63233A65738D}" type="sibTrans" cxnId="{B0D77906-C812-4AB3-9D24-29AB03F957CE}">
      <dgm:prSet/>
      <dgm:spPr/>
      <dgm:t>
        <a:bodyPr/>
        <a:lstStyle/>
        <a:p>
          <a:endParaRPr lang="en-US" sz="2000"/>
        </a:p>
      </dgm:t>
    </dgm:pt>
    <dgm:pt modelId="{6A3BE7CD-36F8-4893-AA3E-B131F82B9F44}">
      <dgm:prSet phldrT="[Text]" custT="1"/>
      <dgm:spPr/>
      <dgm:t>
        <a:bodyPr/>
        <a:lstStyle/>
        <a:p>
          <a:r>
            <a:rPr lang="en-US" sz="1600" dirty="0"/>
            <a:t>Collaboration opportunities</a:t>
          </a:r>
        </a:p>
      </dgm:t>
    </dgm:pt>
    <dgm:pt modelId="{1E01D2AB-94CD-4AFA-A7DF-9479A8A900F2}" type="parTrans" cxnId="{F8FB0E47-F670-489C-9DEF-F5384F70AC6A}">
      <dgm:prSet/>
      <dgm:spPr/>
      <dgm:t>
        <a:bodyPr/>
        <a:lstStyle/>
        <a:p>
          <a:endParaRPr lang="en-US"/>
        </a:p>
      </dgm:t>
    </dgm:pt>
    <dgm:pt modelId="{FD707B4D-505F-44E7-80B7-23752E8AE33D}" type="sibTrans" cxnId="{F8FB0E47-F670-489C-9DEF-F5384F70AC6A}">
      <dgm:prSet/>
      <dgm:spPr/>
      <dgm:t>
        <a:bodyPr/>
        <a:lstStyle/>
        <a:p>
          <a:endParaRPr lang="en-US"/>
        </a:p>
      </dgm:t>
    </dgm:pt>
    <dgm:pt modelId="{719E6EBE-CA48-46B0-96F5-D24498D99815}" type="pres">
      <dgm:prSet presAssocID="{A6560D62-F040-4BA2-A3AF-E55943095D1A}" presName="Name0" presStyleCnt="0">
        <dgm:presLayoutVars>
          <dgm:dir/>
          <dgm:resizeHandles val="exact"/>
        </dgm:presLayoutVars>
      </dgm:prSet>
      <dgm:spPr/>
    </dgm:pt>
    <dgm:pt modelId="{D350BC91-8572-40EF-A576-198B8D1818B9}" type="pres">
      <dgm:prSet presAssocID="{92AAD224-5400-4630-8142-84F8FDC180BF}" presName="composite" presStyleCnt="0"/>
      <dgm:spPr/>
    </dgm:pt>
    <dgm:pt modelId="{90CB23DD-1F24-4B13-BF8B-878519AC9DCC}" type="pres">
      <dgm:prSet presAssocID="{92AAD224-5400-4630-8142-84F8FDC180BF}" presName="rect1" presStyleLbl="bgImgPlace1" presStyleIdx="0" presStyleCnt="6"/>
      <dgm:spPr>
        <a:blipFill>
          <a:blip xmlns:r="http://schemas.openxmlformats.org/officeDocument/2006/relationships" r:embed="rId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hild holding the earth"/>
        </a:ext>
      </dgm:extLst>
    </dgm:pt>
    <dgm:pt modelId="{CB1EC26D-003F-455F-A7C2-C47AFE63692A}" type="pres">
      <dgm:prSet presAssocID="{92AAD224-5400-4630-8142-84F8FDC180BF}" presName="wedgeRectCallout1" presStyleLbl="node1" presStyleIdx="0" presStyleCnt="6">
        <dgm:presLayoutVars>
          <dgm:bulletEnabled val="1"/>
        </dgm:presLayoutVars>
      </dgm:prSet>
      <dgm:spPr/>
    </dgm:pt>
    <dgm:pt modelId="{B9EE1ECD-CE24-48FF-9F3C-1535DE294A99}" type="pres">
      <dgm:prSet presAssocID="{7F1386FB-F666-40F0-9EA3-DBAD537E9BA6}" presName="sibTrans" presStyleCnt="0"/>
      <dgm:spPr/>
    </dgm:pt>
    <dgm:pt modelId="{1468125C-9E88-42E2-BB78-C96D7398267D}" type="pres">
      <dgm:prSet presAssocID="{D34EEFA2-470B-4E6C-A15F-0C4D81684085}" presName="composite" presStyleCnt="0"/>
      <dgm:spPr/>
    </dgm:pt>
    <dgm:pt modelId="{3B70AEFE-2CA3-4108-AAAE-EC9CDE590C63}" type="pres">
      <dgm:prSet presAssocID="{D34EEFA2-470B-4E6C-A15F-0C4D81684085}" presName="rect1" presStyleLbl="bgImgPlace1" presStyleIdx="1" presStyleCnt="6"/>
      <dgm:spPr>
        <a:blipFill>
          <a:blip xmlns:r="http://schemas.openxmlformats.org/officeDocument/2006/relationships"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cientist looking looking at a futuristic display with data"/>
        </a:ext>
      </dgm:extLst>
    </dgm:pt>
    <dgm:pt modelId="{63834F5B-60DE-4391-8CCD-2E51AFFE5642}" type="pres">
      <dgm:prSet presAssocID="{D34EEFA2-470B-4E6C-A15F-0C4D81684085}" presName="wedgeRectCallout1" presStyleLbl="node1" presStyleIdx="1" presStyleCnt="6">
        <dgm:presLayoutVars>
          <dgm:bulletEnabled val="1"/>
        </dgm:presLayoutVars>
      </dgm:prSet>
      <dgm:spPr/>
    </dgm:pt>
    <dgm:pt modelId="{41721F64-E7F5-4C25-A43F-A78CDDFAD76E}" type="pres">
      <dgm:prSet presAssocID="{164465F0-DA5E-4937-AECE-AFB7E57215B0}" presName="sibTrans" presStyleCnt="0"/>
      <dgm:spPr/>
    </dgm:pt>
    <dgm:pt modelId="{7BF24CE8-0C46-4064-A6DF-420CD879001C}" type="pres">
      <dgm:prSet presAssocID="{86F50B2D-E606-4D03-BF2C-8CCD32068ED5}" presName="composite" presStyleCnt="0"/>
      <dgm:spPr/>
    </dgm:pt>
    <dgm:pt modelId="{00E92CEF-B8F3-4278-8862-9871C06982B1}" type="pres">
      <dgm:prSet presAssocID="{86F50B2D-E606-4D03-BF2C-8CCD32068ED5}" presName="rect1" presStyleLbl="bgImgPlace1" presStyleIdx="2" presStyleCnt="6"/>
      <dgm:spPr>
        <a:blipFill>
          <a:blip xmlns:r="http://schemas.openxmlformats.org/officeDocument/2006/relationships"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One open lit box with other closed dark boxes"/>
        </a:ext>
      </dgm:extLst>
    </dgm:pt>
    <dgm:pt modelId="{6A75109C-D059-4F3B-AF11-9BE044981DF9}" type="pres">
      <dgm:prSet presAssocID="{86F50B2D-E606-4D03-BF2C-8CCD32068ED5}" presName="wedgeRectCallout1" presStyleLbl="node1" presStyleIdx="2" presStyleCnt="6">
        <dgm:presLayoutVars>
          <dgm:bulletEnabled val="1"/>
        </dgm:presLayoutVars>
      </dgm:prSet>
      <dgm:spPr/>
    </dgm:pt>
    <dgm:pt modelId="{4C65417F-37DB-4440-A2DD-A936F1C9172B}" type="pres">
      <dgm:prSet presAssocID="{319FEB50-66BA-46A5-991A-9E95468509CF}" presName="sibTrans" presStyleCnt="0"/>
      <dgm:spPr/>
    </dgm:pt>
    <dgm:pt modelId="{B39464F6-AFA2-4730-8B16-F123A38C6F9B}" type="pres">
      <dgm:prSet presAssocID="{87A6720B-827B-413D-B14B-29EB4AE495A5}" presName="composite" presStyleCnt="0"/>
      <dgm:spPr/>
    </dgm:pt>
    <dgm:pt modelId="{1B0382B2-7102-44FF-9901-782704217008}" type="pres">
      <dgm:prSet presAssocID="{87A6720B-827B-413D-B14B-29EB4AE495A5}" presName="rect1" presStyleLbl="bgImgPlace1" presStyleIdx="3" presStyleCnt="6"/>
      <dgm:spPr>
        <a:blipFill>
          <a:blip xmlns:r="http://schemas.openxmlformats.org/officeDocument/2006/relationships"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Worker with protective gear looking up at construction site"/>
        </a:ext>
      </dgm:extLst>
    </dgm:pt>
    <dgm:pt modelId="{FF208008-C706-4DFA-859F-BCD8DF31936E}" type="pres">
      <dgm:prSet presAssocID="{87A6720B-827B-413D-B14B-29EB4AE495A5}" presName="wedgeRectCallout1" presStyleLbl="node1" presStyleIdx="3" presStyleCnt="6">
        <dgm:presLayoutVars>
          <dgm:bulletEnabled val="1"/>
        </dgm:presLayoutVars>
      </dgm:prSet>
      <dgm:spPr/>
    </dgm:pt>
    <dgm:pt modelId="{3AC10B8E-C348-42FF-860C-2FE97AE8C992}" type="pres">
      <dgm:prSet presAssocID="{D89CB25D-1B40-4726-85A4-63233A65738D}" presName="sibTrans" presStyleCnt="0"/>
      <dgm:spPr/>
    </dgm:pt>
    <dgm:pt modelId="{9DC1A8BC-FFC7-4B47-B3A4-8FA153276036}" type="pres">
      <dgm:prSet presAssocID="{6A3BE7CD-36F8-4893-AA3E-B131F82B9F44}" presName="composite" presStyleCnt="0"/>
      <dgm:spPr/>
    </dgm:pt>
    <dgm:pt modelId="{2B166935-B481-4A43-A525-B1019D3B3B83}" type="pres">
      <dgm:prSet presAssocID="{6A3BE7CD-36F8-4893-AA3E-B131F82B9F44}" presName="rect1" presStyleLbl="bgImgPlace1" presStyleIdx="4" presStyleCnt="6"/>
      <dgm:spPr>
        <a:blipFill>
          <a:blip xmlns:r="http://schemas.openxmlformats.org/officeDocument/2006/relationships"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olleagues huddle"/>
        </a:ext>
      </dgm:extLst>
    </dgm:pt>
    <dgm:pt modelId="{05AFE5BD-2F96-45BC-8F93-EA37F821C860}" type="pres">
      <dgm:prSet presAssocID="{6A3BE7CD-36F8-4893-AA3E-B131F82B9F44}" presName="wedgeRectCallout1" presStyleLbl="node1" presStyleIdx="4" presStyleCnt="6">
        <dgm:presLayoutVars>
          <dgm:bulletEnabled val="1"/>
        </dgm:presLayoutVars>
      </dgm:prSet>
      <dgm:spPr/>
    </dgm:pt>
    <dgm:pt modelId="{6076D049-6E20-4722-9625-712EC611C0E5}" type="pres">
      <dgm:prSet presAssocID="{FD707B4D-505F-44E7-80B7-23752E8AE33D}" presName="sibTrans" presStyleCnt="0"/>
      <dgm:spPr/>
    </dgm:pt>
    <dgm:pt modelId="{C7BA0E1C-B796-4DD4-917D-FE948E150636}" type="pres">
      <dgm:prSet presAssocID="{EA5ED22A-ABFE-4561-8813-5D92AE3C9B25}" presName="composite" presStyleCnt="0"/>
      <dgm:spPr/>
    </dgm:pt>
    <dgm:pt modelId="{C7BEC6D9-C740-480F-B551-129A70EC4772}" type="pres">
      <dgm:prSet presAssocID="{EA5ED22A-ABFE-4561-8813-5D92AE3C9B25}" presName="rect1" presStyleLbl="bgImgPlace1" presStyleIdx="5" presStyleCnt="6"/>
      <dgm:spPr>
        <a:blipFill>
          <a:blip xmlns:r="http://schemas.openxmlformats.org/officeDocument/2006/relationships"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Wind turbines at sunset illustration"/>
        </a:ext>
      </dgm:extLst>
    </dgm:pt>
    <dgm:pt modelId="{E8E40486-543E-47FD-AC97-B584CF0D3514}" type="pres">
      <dgm:prSet presAssocID="{EA5ED22A-ABFE-4561-8813-5D92AE3C9B25}" presName="wedgeRectCallout1" presStyleLbl="node1" presStyleIdx="5" presStyleCnt="6">
        <dgm:presLayoutVars>
          <dgm:bulletEnabled val="1"/>
        </dgm:presLayoutVars>
      </dgm:prSet>
      <dgm:spPr/>
    </dgm:pt>
  </dgm:ptLst>
  <dgm:cxnLst>
    <dgm:cxn modelId="{B0D77906-C812-4AB3-9D24-29AB03F957CE}" srcId="{A6560D62-F040-4BA2-A3AF-E55943095D1A}" destId="{87A6720B-827B-413D-B14B-29EB4AE495A5}" srcOrd="3" destOrd="0" parTransId="{ADC345A4-FA53-48B6-9C02-63D338832F43}" sibTransId="{D89CB25D-1B40-4726-85A4-63233A65738D}"/>
    <dgm:cxn modelId="{1004C809-579F-4B2A-B648-4AED08B7F898}" srcId="{A6560D62-F040-4BA2-A3AF-E55943095D1A}" destId="{EA5ED22A-ABFE-4561-8813-5D92AE3C9B25}" srcOrd="5" destOrd="0" parTransId="{11DFA446-1DA9-4840-90BF-7206163FF301}" sibTransId="{49EEA9A6-C9C3-4B63-88A6-87248A97E0A0}"/>
    <dgm:cxn modelId="{731CFE20-ADDB-451E-965E-36222314D566}" type="presOf" srcId="{6A3BE7CD-36F8-4893-AA3E-B131F82B9F44}" destId="{05AFE5BD-2F96-45BC-8F93-EA37F821C860}" srcOrd="0" destOrd="0" presId="urn:microsoft.com/office/officeart/2008/layout/BendingPictureCaptionList"/>
    <dgm:cxn modelId="{34C8AD2C-6571-448A-8000-00795A3466D4}" type="presOf" srcId="{EA5ED22A-ABFE-4561-8813-5D92AE3C9B25}" destId="{E8E40486-543E-47FD-AC97-B584CF0D3514}" srcOrd="0" destOrd="0" presId="urn:microsoft.com/office/officeart/2008/layout/BendingPictureCaptionList"/>
    <dgm:cxn modelId="{AD3B4C60-FD0F-4A65-8DFA-8F126F347D58}" type="presOf" srcId="{87A6720B-827B-413D-B14B-29EB4AE495A5}" destId="{FF208008-C706-4DFA-859F-BCD8DF31936E}" srcOrd="0" destOrd="0" presId="urn:microsoft.com/office/officeart/2008/layout/BendingPictureCaptionList"/>
    <dgm:cxn modelId="{6D894465-3C4D-4B23-9953-B43747330694}" srcId="{A6560D62-F040-4BA2-A3AF-E55943095D1A}" destId="{86F50B2D-E606-4D03-BF2C-8CCD32068ED5}" srcOrd="2" destOrd="0" parTransId="{5D881604-1720-475C-A799-9A3B870D57ED}" sibTransId="{319FEB50-66BA-46A5-991A-9E95468509CF}"/>
    <dgm:cxn modelId="{F8FB0E47-F670-489C-9DEF-F5384F70AC6A}" srcId="{A6560D62-F040-4BA2-A3AF-E55943095D1A}" destId="{6A3BE7CD-36F8-4893-AA3E-B131F82B9F44}" srcOrd="4" destOrd="0" parTransId="{1E01D2AB-94CD-4AFA-A7DF-9479A8A900F2}" sibTransId="{FD707B4D-505F-44E7-80B7-23752E8AE33D}"/>
    <dgm:cxn modelId="{8C56398E-3493-4D12-AD6E-EF3F8B1E476B}" type="presOf" srcId="{86F50B2D-E606-4D03-BF2C-8CCD32068ED5}" destId="{6A75109C-D059-4F3B-AF11-9BE044981DF9}" srcOrd="0" destOrd="0" presId="urn:microsoft.com/office/officeart/2008/layout/BendingPictureCaptionList"/>
    <dgm:cxn modelId="{AAE34B99-DC44-49EB-A8EA-30E94A130034}" srcId="{A6560D62-F040-4BA2-A3AF-E55943095D1A}" destId="{92AAD224-5400-4630-8142-84F8FDC180BF}" srcOrd="0" destOrd="0" parTransId="{B9496A2C-DB71-46E4-8408-07E113BB5A0D}" sibTransId="{7F1386FB-F666-40F0-9EA3-DBAD537E9BA6}"/>
    <dgm:cxn modelId="{AA576EBC-19EE-41EA-BCED-3880BC918F6F}" type="presOf" srcId="{A6560D62-F040-4BA2-A3AF-E55943095D1A}" destId="{719E6EBE-CA48-46B0-96F5-D24498D99815}" srcOrd="0" destOrd="0" presId="urn:microsoft.com/office/officeart/2008/layout/BendingPictureCaptionList"/>
    <dgm:cxn modelId="{7CE248D8-03B1-43EC-A89B-270C9FC806F0}" type="presOf" srcId="{D34EEFA2-470B-4E6C-A15F-0C4D81684085}" destId="{63834F5B-60DE-4391-8CCD-2E51AFFE5642}" srcOrd="0" destOrd="0" presId="urn:microsoft.com/office/officeart/2008/layout/BendingPictureCaptionList"/>
    <dgm:cxn modelId="{8F39A5E5-55AE-48C1-B923-5047C8BBF0CF}" type="presOf" srcId="{92AAD224-5400-4630-8142-84F8FDC180BF}" destId="{CB1EC26D-003F-455F-A7C2-C47AFE63692A}" srcOrd="0" destOrd="0" presId="urn:microsoft.com/office/officeart/2008/layout/BendingPictureCaptionList"/>
    <dgm:cxn modelId="{A1656AEE-DD75-4C4C-A4F3-F3284719C531}" srcId="{A6560D62-F040-4BA2-A3AF-E55943095D1A}" destId="{D34EEFA2-470B-4E6C-A15F-0C4D81684085}" srcOrd="1" destOrd="0" parTransId="{84E2E416-AF6E-4A13-B475-175268E2DD56}" sibTransId="{164465F0-DA5E-4937-AECE-AFB7E57215B0}"/>
    <dgm:cxn modelId="{515293F8-08CA-4124-AFD9-F910E656407D}" type="presParOf" srcId="{719E6EBE-CA48-46B0-96F5-D24498D99815}" destId="{D350BC91-8572-40EF-A576-198B8D1818B9}" srcOrd="0" destOrd="0" presId="urn:microsoft.com/office/officeart/2008/layout/BendingPictureCaptionList"/>
    <dgm:cxn modelId="{D4DE0E30-FB7B-45AD-812D-EBB71E8649DA}" type="presParOf" srcId="{D350BC91-8572-40EF-A576-198B8D1818B9}" destId="{90CB23DD-1F24-4B13-BF8B-878519AC9DCC}" srcOrd="0" destOrd="0" presId="urn:microsoft.com/office/officeart/2008/layout/BendingPictureCaptionList"/>
    <dgm:cxn modelId="{FCA87A02-4E99-4CAC-9DDA-CAB358402800}" type="presParOf" srcId="{D350BC91-8572-40EF-A576-198B8D1818B9}" destId="{CB1EC26D-003F-455F-A7C2-C47AFE63692A}" srcOrd="1" destOrd="0" presId="urn:microsoft.com/office/officeart/2008/layout/BendingPictureCaptionList"/>
    <dgm:cxn modelId="{27614651-C289-42FC-B03E-D5A73330F282}" type="presParOf" srcId="{719E6EBE-CA48-46B0-96F5-D24498D99815}" destId="{B9EE1ECD-CE24-48FF-9F3C-1535DE294A99}" srcOrd="1" destOrd="0" presId="urn:microsoft.com/office/officeart/2008/layout/BendingPictureCaptionList"/>
    <dgm:cxn modelId="{4291BF22-AF25-4F62-8325-740F04CA5CC7}" type="presParOf" srcId="{719E6EBE-CA48-46B0-96F5-D24498D99815}" destId="{1468125C-9E88-42E2-BB78-C96D7398267D}" srcOrd="2" destOrd="0" presId="urn:microsoft.com/office/officeart/2008/layout/BendingPictureCaptionList"/>
    <dgm:cxn modelId="{12E8E4BC-DFD2-4A2E-9D23-57DBD79CA28C}" type="presParOf" srcId="{1468125C-9E88-42E2-BB78-C96D7398267D}" destId="{3B70AEFE-2CA3-4108-AAAE-EC9CDE590C63}" srcOrd="0" destOrd="0" presId="urn:microsoft.com/office/officeart/2008/layout/BendingPictureCaptionList"/>
    <dgm:cxn modelId="{DABF90FA-5C7E-4BB6-9072-7C4EC8DCE5C4}" type="presParOf" srcId="{1468125C-9E88-42E2-BB78-C96D7398267D}" destId="{63834F5B-60DE-4391-8CCD-2E51AFFE5642}" srcOrd="1" destOrd="0" presId="urn:microsoft.com/office/officeart/2008/layout/BendingPictureCaptionList"/>
    <dgm:cxn modelId="{BF437A8D-C3F6-44FF-B81F-7A86984BCCA4}" type="presParOf" srcId="{719E6EBE-CA48-46B0-96F5-D24498D99815}" destId="{41721F64-E7F5-4C25-A43F-A78CDDFAD76E}" srcOrd="3" destOrd="0" presId="urn:microsoft.com/office/officeart/2008/layout/BendingPictureCaptionList"/>
    <dgm:cxn modelId="{AA9D9BCA-A4D8-4943-9ECB-7B67F095322A}" type="presParOf" srcId="{719E6EBE-CA48-46B0-96F5-D24498D99815}" destId="{7BF24CE8-0C46-4064-A6DF-420CD879001C}" srcOrd="4" destOrd="0" presId="urn:microsoft.com/office/officeart/2008/layout/BendingPictureCaptionList"/>
    <dgm:cxn modelId="{2316423F-34AB-4536-BABC-9B8B9D082D20}" type="presParOf" srcId="{7BF24CE8-0C46-4064-A6DF-420CD879001C}" destId="{00E92CEF-B8F3-4278-8862-9871C06982B1}" srcOrd="0" destOrd="0" presId="urn:microsoft.com/office/officeart/2008/layout/BendingPictureCaptionList"/>
    <dgm:cxn modelId="{8C4F0E34-4FF4-4F5D-88EA-96AF5833C68B}" type="presParOf" srcId="{7BF24CE8-0C46-4064-A6DF-420CD879001C}" destId="{6A75109C-D059-4F3B-AF11-9BE044981DF9}" srcOrd="1" destOrd="0" presId="urn:microsoft.com/office/officeart/2008/layout/BendingPictureCaptionList"/>
    <dgm:cxn modelId="{D3DD54F2-02F2-4644-B9E1-3312EC95AB31}" type="presParOf" srcId="{719E6EBE-CA48-46B0-96F5-D24498D99815}" destId="{4C65417F-37DB-4440-A2DD-A936F1C9172B}" srcOrd="5" destOrd="0" presId="urn:microsoft.com/office/officeart/2008/layout/BendingPictureCaptionList"/>
    <dgm:cxn modelId="{711A813D-F953-4659-BDD4-FFAAA00AD12F}" type="presParOf" srcId="{719E6EBE-CA48-46B0-96F5-D24498D99815}" destId="{B39464F6-AFA2-4730-8B16-F123A38C6F9B}" srcOrd="6" destOrd="0" presId="urn:microsoft.com/office/officeart/2008/layout/BendingPictureCaptionList"/>
    <dgm:cxn modelId="{51F46EFD-42C8-447D-BB7E-5056B7CA89F0}" type="presParOf" srcId="{B39464F6-AFA2-4730-8B16-F123A38C6F9B}" destId="{1B0382B2-7102-44FF-9901-782704217008}" srcOrd="0" destOrd="0" presId="urn:microsoft.com/office/officeart/2008/layout/BendingPictureCaptionList"/>
    <dgm:cxn modelId="{F591D6A4-3121-45EE-9AD2-79741DF3E4E2}" type="presParOf" srcId="{B39464F6-AFA2-4730-8B16-F123A38C6F9B}" destId="{FF208008-C706-4DFA-859F-BCD8DF31936E}" srcOrd="1" destOrd="0" presId="urn:microsoft.com/office/officeart/2008/layout/BendingPictureCaptionList"/>
    <dgm:cxn modelId="{EA458747-5E03-4B61-A449-ACCD4800CA7D}" type="presParOf" srcId="{719E6EBE-CA48-46B0-96F5-D24498D99815}" destId="{3AC10B8E-C348-42FF-860C-2FE97AE8C992}" srcOrd="7" destOrd="0" presId="urn:microsoft.com/office/officeart/2008/layout/BendingPictureCaptionList"/>
    <dgm:cxn modelId="{9BC6332E-BA5C-4861-B169-C38B83290CEA}" type="presParOf" srcId="{719E6EBE-CA48-46B0-96F5-D24498D99815}" destId="{9DC1A8BC-FFC7-4B47-B3A4-8FA153276036}" srcOrd="8" destOrd="0" presId="urn:microsoft.com/office/officeart/2008/layout/BendingPictureCaptionList"/>
    <dgm:cxn modelId="{3A66ACA0-4A50-462D-A936-50465AC605FF}" type="presParOf" srcId="{9DC1A8BC-FFC7-4B47-B3A4-8FA153276036}" destId="{2B166935-B481-4A43-A525-B1019D3B3B83}" srcOrd="0" destOrd="0" presId="urn:microsoft.com/office/officeart/2008/layout/BendingPictureCaptionList"/>
    <dgm:cxn modelId="{6862DCB0-8624-4735-8594-BA67D6B15FB9}" type="presParOf" srcId="{9DC1A8BC-FFC7-4B47-B3A4-8FA153276036}" destId="{05AFE5BD-2F96-45BC-8F93-EA37F821C860}" srcOrd="1" destOrd="0" presId="urn:microsoft.com/office/officeart/2008/layout/BendingPictureCaptionList"/>
    <dgm:cxn modelId="{E37E6C39-5036-4171-8BF6-162C0207CC5F}" type="presParOf" srcId="{719E6EBE-CA48-46B0-96F5-D24498D99815}" destId="{6076D049-6E20-4722-9625-712EC611C0E5}" srcOrd="9" destOrd="0" presId="urn:microsoft.com/office/officeart/2008/layout/BendingPictureCaptionList"/>
    <dgm:cxn modelId="{ADEA5F4C-AF2C-4F93-8A05-12D421128E00}" type="presParOf" srcId="{719E6EBE-CA48-46B0-96F5-D24498D99815}" destId="{C7BA0E1C-B796-4DD4-917D-FE948E150636}" srcOrd="10" destOrd="0" presId="urn:microsoft.com/office/officeart/2008/layout/BendingPictureCaptionList"/>
    <dgm:cxn modelId="{C96B3440-DFCD-46D5-8A6B-9FC4FB618D68}" type="presParOf" srcId="{C7BA0E1C-B796-4DD4-917D-FE948E150636}" destId="{C7BEC6D9-C740-480F-B551-129A70EC4772}" srcOrd="0" destOrd="0" presId="urn:microsoft.com/office/officeart/2008/layout/BendingPictureCaptionList"/>
    <dgm:cxn modelId="{12221097-4804-47F3-9BAD-19CD01C7084E}" type="presParOf" srcId="{C7BA0E1C-B796-4DD4-917D-FE948E150636}" destId="{E8E40486-543E-47FD-AC97-B584CF0D3514}" srcOrd="1" destOrd="0" presId="urn:microsoft.com/office/officeart/2008/layout/BendingPictureCa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CB23DD-1F24-4B13-BF8B-878519AC9DCC}">
      <dsp:nvSpPr>
        <dsp:cNvPr id="0" name=""/>
        <dsp:cNvSpPr/>
      </dsp:nvSpPr>
      <dsp:spPr>
        <a:xfrm>
          <a:off x="0" y="445790"/>
          <a:ext cx="2244192" cy="1795354"/>
        </a:xfrm>
        <a:prstGeom prst="rect">
          <a:avLst/>
        </a:prstGeom>
        <a:blipFill>
          <a:blip xmlns:r="http://schemas.openxmlformats.org/officeDocument/2006/relationships" r:embed="rId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1EC26D-003F-455F-A7C2-C47AFE63692A}">
      <dsp:nvSpPr>
        <dsp:cNvPr id="0" name=""/>
        <dsp:cNvSpPr/>
      </dsp:nvSpPr>
      <dsp:spPr>
        <a:xfrm>
          <a:off x="201977" y="2061609"/>
          <a:ext cx="1997331" cy="628373"/>
        </a:xfrm>
        <a:prstGeom prst="wedgeRectCallout">
          <a:avLst>
            <a:gd name="adj1" fmla="val 20250"/>
            <a:gd name="adj2" fmla="val -607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limate goals &amp; strategy</a:t>
          </a:r>
        </a:p>
      </dsp:txBody>
      <dsp:txXfrm>
        <a:off x="201977" y="2061609"/>
        <a:ext cx="1997331" cy="628373"/>
      </dsp:txXfrm>
    </dsp:sp>
    <dsp:sp modelId="{3B70AEFE-2CA3-4108-AAAE-EC9CDE590C63}">
      <dsp:nvSpPr>
        <dsp:cNvPr id="0" name=""/>
        <dsp:cNvSpPr/>
      </dsp:nvSpPr>
      <dsp:spPr>
        <a:xfrm>
          <a:off x="2468612" y="445790"/>
          <a:ext cx="2244192" cy="1795354"/>
        </a:xfrm>
        <a:prstGeom prst="rect">
          <a:avLst/>
        </a:prstGeom>
        <a:blipFill>
          <a:blip xmlns:r="http://schemas.openxmlformats.org/officeDocument/2006/relationships"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834F5B-60DE-4391-8CCD-2E51AFFE5642}">
      <dsp:nvSpPr>
        <dsp:cNvPr id="0" name=""/>
        <dsp:cNvSpPr/>
      </dsp:nvSpPr>
      <dsp:spPr>
        <a:xfrm>
          <a:off x="2670589" y="2061609"/>
          <a:ext cx="1997331" cy="628373"/>
        </a:xfrm>
        <a:prstGeom prst="wedgeRectCallout">
          <a:avLst>
            <a:gd name="adj1" fmla="val 20250"/>
            <a:gd name="adj2" fmla="val -607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Robust scope 1, 2, and 3 GHG accounting</a:t>
          </a:r>
        </a:p>
      </dsp:txBody>
      <dsp:txXfrm>
        <a:off x="2670589" y="2061609"/>
        <a:ext cx="1997331" cy="628373"/>
      </dsp:txXfrm>
    </dsp:sp>
    <dsp:sp modelId="{00E92CEF-B8F3-4278-8862-9871C06982B1}">
      <dsp:nvSpPr>
        <dsp:cNvPr id="0" name=""/>
        <dsp:cNvSpPr/>
      </dsp:nvSpPr>
      <dsp:spPr>
        <a:xfrm>
          <a:off x="4937224" y="445790"/>
          <a:ext cx="2244192" cy="1795354"/>
        </a:xfrm>
        <a:prstGeom prst="rect">
          <a:avLst/>
        </a:prstGeom>
        <a:blipFill>
          <a:blip xmlns:r="http://schemas.openxmlformats.org/officeDocument/2006/relationships"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A75109C-D059-4F3B-AF11-9BE044981DF9}">
      <dsp:nvSpPr>
        <dsp:cNvPr id="0" name=""/>
        <dsp:cNvSpPr/>
      </dsp:nvSpPr>
      <dsp:spPr>
        <a:xfrm>
          <a:off x="5139201" y="2061609"/>
          <a:ext cx="1997331" cy="628373"/>
        </a:xfrm>
        <a:prstGeom prst="wedgeRectCallout">
          <a:avLst>
            <a:gd name="adj1" fmla="val 20250"/>
            <a:gd name="adj2" fmla="val -607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arbon intensity metrics</a:t>
          </a:r>
        </a:p>
      </dsp:txBody>
      <dsp:txXfrm>
        <a:off x="5139201" y="2061609"/>
        <a:ext cx="1997331" cy="628373"/>
      </dsp:txXfrm>
    </dsp:sp>
    <dsp:sp modelId="{1B0382B2-7102-44FF-9901-782704217008}">
      <dsp:nvSpPr>
        <dsp:cNvPr id="0" name=""/>
        <dsp:cNvSpPr/>
      </dsp:nvSpPr>
      <dsp:spPr>
        <a:xfrm>
          <a:off x="0" y="2914402"/>
          <a:ext cx="2244192" cy="1795354"/>
        </a:xfrm>
        <a:prstGeom prst="rect">
          <a:avLst/>
        </a:prstGeom>
        <a:blipFill>
          <a:blip xmlns:r="http://schemas.openxmlformats.org/officeDocument/2006/relationships"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F208008-C706-4DFA-859F-BCD8DF31936E}">
      <dsp:nvSpPr>
        <dsp:cNvPr id="0" name=""/>
        <dsp:cNvSpPr/>
      </dsp:nvSpPr>
      <dsp:spPr>
        <a:xfrm>
          <a:off x="201977" y="4530221"/>
          <a:ext cx="1997331" cy="628373"/>
        </a:xfrm>
        <a:prstGeom prst="wedgeRectCallout">
          <a:avLst>
            <a:gd name="adj1" fmla="val 20250"/>
            <a:gd name="adj2" fmla="val -607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apital spend on climate</a:t>
          </a:r>
        </a:p>
      </dsp:txBody>
      <dsp:txXfrm>
        <a:off x="201977" y="4530221"/>
        <a:ext cx="1997331" cy="628373"/>
      </dsp:txXfrm>
    </dsp:sp>
    <dsp:sp modelId="{2B166935-B481-4A43-A525-B1019D3B3B83}">
      <dsp:nvSpPr>
        <dsp:cNvPr id="0" name=""/>
        <dsp:cNvSpPr/>
      </dsp:nvSpPr>
      <dsp:spPr>
        <a:xfrm>
          <a:off x="2468612" y="2914402"/>
          <a:ext cx="2244192" cy="1795354"/>
        </a:xfrm>
        <a:prstGeom prst="rect">
          <a:avLst/>
        </a:prstGeom>
        <a:blipFill>
          <a:blip xmlns:r="http://schemas.openxmlformats.org/officeDocument/2006/relationships"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AFE5BD-2F96-45BC-8F93-EA37F821C860}">
      <dsp:nvSpPr>
        <dsp:cNvPr id="0" name=""/>
        <dsp:cNvSpPr/>
      </dsp:nvSpPr>
      <dsp:spPr>
        <a:xfrm>
          <a:off x="2670589" y="4530221"/>
          <a:ext cx="1997331" cy="628373"/>
        </a:xfrm>
        <a:prstGeom prst="wedgeRectCallout">
          <a:avLst>
            <a:gd name="adj1" fmla="val 20250"/>
            <a:gd name="adj2" fmla="val -607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ollaboration opportunities</a:t>
          </a:r>
        </a:p>
      </dsp:txBody>
      <dsp:txXfrm>
        <a:off x="2670589" y="4530221"/>
        <a:ext cx="1997331" cy="628373"/>
      </dsp:txXfrm>
    </dsp:sp>
    <dsp:sp modelId="{C7BEC6D9-C740-480F-B551-129A70EC4772}">
      <dsp:nvSpPr>
        <dsp:cNvPr id="0" name=""/>
        <dsp:cNvSpPr/>
      </dsp:nvSpPr>
      <dsp:spPr>
        <a:xfrm>
          <a:off x="4937224" y="2914402"/>
          <a:ext cx="2244192" cy="1795354"/>
        </a:xfrm>
        <a:prstGeom prst="rect">
          <a:avLst/>
        </a:prstGeom>
        <a:blipFill>
          <a:blip xmlns:r="http://schemas.openxmlformats.org/officeDocument/2006/relationships"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8E40486-543E-47FD-AC97-B584CF0D3514}">
      <dsp:nvSpPr>
        <dsp:cNvPr id="0" name=""/>
        <dsp:cNvSpPr/>
      </dsp:nvSpPr>
      <dsp:spPr>
        <a:xfrm>
          <a:off x="5139201" y="4530221"/>
          <a:ext cx="1997331" cy="628373"/>
        </a:xfrm>
        <a:prstGeom prst="wedgeRectCallout">
          <a:avLst>
            <a:gd name="adj1" fmla="val 20250"/>
            <a:gd name="adj2" fmla="val -607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Renewable energy use</a:t>
          </a:r>
        </a:p>
      </dsp:txBody>
      <dsp:txXfrm>
        <a:off x="5139201" y="4530221"/>
        <a:ext cx="1997331" cy="62837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BendingPictureCaptionList">
  <dgm:title val=""/>
  <dgm:desc val=""/>
  <dgm:catLst>
    <dgm:cat type="picture" pri="9000"/>
    <dgm:cat type="pictureconvert" pri="9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w" fact="1.11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"/>
              <dgm:constr type="t" for="ch" forName="rect1" refType="h" fact="0"/>
              <dgm:constr type="w" for="ch" forName="rect1" refType="w"/>
              <dgm:constr type="h" for="ch" forName="rect1" refType="h" fact="0.8"/>
              <dgm:constr type="l" for="ch" forName="wedgeRectCallout1" refType="w" fact="0.09"/>
              <dgm:constr type="t" for="ch" forName="wedgeRectCallout1" refType="h" fact="0.72"/>
              <dgm:constr type="w" for="ch" forName="wedgeRectCallout1" refType="w" fact="0.89"/>
              <dgm:constr type="h" for="ch" forName="wedgeRectCallout1" refType="h" fact="0.28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w"/>
              <dgm:constr type="h" for="ch" forName="rect1" refType="h" fact="0.8"/>
              <dgm:constr type="l" for="ch" forName="wedgeRectCallout1" refType="w" fact="0.02"/>
              <dgm:constr type="t" for="ch" forName="wedgeRectCallout1" refType="h" fact="0.72"/>
              <dgm:constr type="w" for="ch" forName="wedgeRectCallout1" refType="w" fact="0.89"/>
              <dgm:constr type="h" for="ch" forName="wedgeRectCallout1" refType="h" fact="0.28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wedgeRectCallout1" styleLbl="node1">
          <dgm:varLst>
            <dgm:bulletEnabled val="1"/>
          </dgm:varLst>
          <dgm:alg type="tx"/>
          <dgm:choose name="Name7">
            <dgm:if name="Name8" func="var" arg="dir" op="equ" val="norm">
              <dgm:shape xmlns:r="http://schemas.openxmlformats.org/officeDocument/2006/relationships" type="wedgeRectCallout" r:blip="">
                <dgm:adjLst>
                  <dgm:adj idx="1" val="0.2025"/>
                  <dgm:adj idx="2" val="-0.607"/>
                </dgm:adjLst>
              </dgm:shape>
            </dgm:if>
            <dgm:else name="Name9">
              <dgm:shape xmlns:r="http://schemas.openxmlformats.org/officeDocument/2006/relationships" type="wedgeRectCallout" r:blip="">
                <dgm:adjLst>
                  <dgm:adj idx="1" val="-0.2025"/>
                  <dgm:adj idx="2" val="-0.607"/>
                </dgm:adjLst>
              </dgm:shape>
            </dgm:else>
          </dgm:choos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21750D29-2D57-4BB3-A3D4-00A9723E44E9}" type="datetimeFigureOut">
              <a:rPr lang="en-US" smtClean="0"/>
              <a:t>23-Jan-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1BFE7016-202D-47A8-9E42-A49DFF634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9988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93603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30% improvement rate for PCFs and RIF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FE7016-202D-47A8-9E42-A49DFF634B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14091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69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4.xml"/><Relationship Id="rId4" Type="http://schemas.openxmlformats.org/officeDocument/2006/relationships/image" Target="../media/image23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5.xml"/><Relationship Id="rId4" Type="http://schemas.openxmlformats.org/officeDocument/2006/relationships/image" Target="../media/image23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Relationship Id="rId5" Type="http://schemas.openxmlformats.org/officeDocument/2006/relationships/image" Target="../media/image27.png"/><Relationship Id="rId4" Type="http://schemas.openxmlformats.org/officeDocument/2006/relationships/image" Target="../media/image23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Relationship Id="rId5" Type="http://schemas.openxmlformats.org/officeDocument/2006/relationships/image" Target="../media/image28.png"/><Relationship Id="rId4" Type="http://schemas.openxmlformats.org/officeDocument/2006/relationships/image" Target="../media/image23.emf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6.pn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25.jp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75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2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3.xml"/><Relationship Id="rId4" Type="http://schemas.openxmlformats.org/officeDocument/2006/relationships/image" Target="../media/image18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4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5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6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7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8.xml"/><Relationship Id="rId4" Type="http://schemas.openxmlformats.org/officeDocument/2006/relationships/image" Target="../media/image18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9.xml"/><Relationship Id="rId4" Type="http://schemas.openxmlformats.org/officeDocument/2006/relationships/image" Target="../media/image18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0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1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2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3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4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5.xml"/><Relationship Id="rId5" Type="http://schemas.openxmlformats.org/officeDocument/2006/relationships/image" Target="../media/image28.png"/><Relationship Id="rId4" Type="http://schemas.openxmlformats.org/officeDocument/2006/relationships/image" Target="../media/image18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6.xml"/><Relationship Id="rId5" Type="http://schemas.openxmlformats.org/officeDocument/2006/relationships/image" Target="../media/image29.png"/><Relationship Id="rId4" Type="http://schemas.openxmlformats.org/officeDocument/2006/relationships/image" Target="../media/image18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7.xml"/><Relationship Id="rId5" Type="http://schemas.openxmlformats.org/officeDocument/2006/relationships/image" Target="../media/image31.png"/><Relationship Id="rId4" Type="http://schemas.openxmlformats.org/officeDocument/2006/relationships/image" Target="../media/image30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8.xml"/><Relationship Id="rId5" Type="http://schemas.openxmlformats.org/officeDocument/2006/relationships/image" Target="../media/image32.png"/><Relationship Id="rId4" Type="http://schemas.openxmlformats.org/officeDocument/2006/relationships/image" Target="../media/image18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9.xml"/><Relationship Id="rId5" Type="http://schemas.openxmlformats.org/officeDocument/2006/relationships/image" Target="../media/image28.png"/><Relationship Id="rId4" Type="http://schemas.openxmlformats.org/officeDocument/2006/relationships/image" Target="../media/image18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0.xml"/><Relationship Id="rId5" Type="http://schemas.openxmlformats.org/officeDocument/2006/relationships/image" Target="../media/image33.png"/><Relationship Id="rId4" Type="http://schemas.openxmlformats.org/officeDocument/2006/relationships/image" Target="../media/image18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1.xml"/><Relationship Id="rId5" Type="http://schemas.openxmlformats.org/officeDocument/2006/relationships/image" Target="../media/image28.png"/><Relationship Id="rId4" Type="http://schemas.openxmlformats.org/officeDocument/2006/relationships/image" Target="../media/image18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2.xml"/><Relationship Id="rId5" Type="http://schemas.openxmlformats.org/officeDocument/2006/relationships/image" Target="../media/image33.png"/><Relationship Id="rId4" Type="http://schemas.openxmlformats.org/officeDocument/2006/relationships/image" Target="../media/image18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3.xml"/><Relationship Id="rId4" Type="http://schemas.openxmlformats.org/officeDocument/2006/relationships/image" Target="../media/image18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4.xml"/><Relationship Id="rId4" Type="http://schemas.openxmlformats.org/officeDocument/2006/relationships/image" Target="../media/image18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5.xml"/><Relationship Id="rId5" Type="http://schemas.openxmlformats.org/officeDocument/2006/relationships/image" Target="../media/image34.png"/><Relationship Id="rId4" Type="http://schemas.openxmlformats.org/officeDocument/2006/relationships/image" Target="../media/image30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6.xml"/><Relationship Id="rId4" Type="http://schemas.openxmlformats.org/officeDocument/2006/relationships/image" Target="../media/image18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7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8.xml"/><Relationship Id="rId4" Type="http://schemas.openxmlformats.org/officeDocument/2006/relationships/image" Target="../media/image18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9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0.xml"/><Relationship Id="rId6" Type="http://schemas.openxmlformats.org/officeDocument/2006/relationships/image" Target="../media/image26.png"/><Relationship Id="rId5" Type="http://schemas.openxmlformats.org/officeDocument/2006/relationships/image" Target="../media/image25.jpg"/><Relationship Id="rId4" Type="http://schemas.openxmlformats.org/officeDocument/2006/relationships/image" Target="../media/image24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1.xml"/><Relationship Id="rId4" Type="http://schemas.openxmlformats.org/officeDocument/2006/relationships/image" Target="../media/image18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6.png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25.jp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07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4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5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6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7.xml"/><Relationship Id="rId4" Type="http://schemas.openxmlformats.org/officeDocument/2006/relationships/image" Target="../media/image18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8.xml"/><Relationship Id="rId4" Type="http://schemas.openxmlformats.org/officeDocument/2006/relationships/image" Target="../media/image18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9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0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1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2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3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4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5.xml"/><Relationship Id="rId5" Type="http://schemas.openxmlformats.org/officeDocument/2006/relationships/image" Target="../media/image28.png"/><Relationship Id="rId4" Type="http://schemas.openxmlformats.org/officeDocument/2006/relationships/image" Target="../media/image30.emf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6.xml"/><Relationship Id="rId5" Type="http://schemas.openxmlformats.org/officeDocument/2006/relationships/image" Target="../media/image29.png"/><Relationship Id="rId4" Type="http://schemas.openxmlformats.org/officeDocument/2006/relationships/image" Target="../media/image18.emf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7.xml"/><Relationship Id="rId5" Type="http://schemas.openxmlformats.org/officeDocument/2006/relationships/image" Target="../media/image31.png"/><Relationship Id="rId4" Type="http://schemas.openxmlformats.org/officeDocument/2006/relationships/image" Target="../media/image18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8.xml"/><Relationship Id="rId5" Type="http://schemas.openxmlformats.org/officeDocument/2006/relationships/image" Target="../media/image32.png"/><Relationship Id="rId4" Type="http://schemas.openxmlformats.org/officeDocument/2006/relationships/image" Target="../media/image18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9.xml"/><Relationship Id="rId5" Type="http://schemas.openxmlformats.org/officeDocument/2006/relationships/image" Target="../media/image28.png"/><Relationship Id="rId4" Type="http://schemas.openxmlformats.org/officeDocument/2006/relationships/image" Target="../media/image18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0.xml"/><Relationship Id="rId5" Type="http://schemas.openxmlformats.org/officeDocument/2006/relationships/image" Target="../media/image33.png"/><Relationship Id="rId4" Type="http://schemas.openxmlformats.org/officeDocument/2006/relationships/image" Target="../media/image18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1.xml"/><Relationship Id="rId5" Type="http://schemas.openxmlformats.org/officeDocument/2006/relationships/image" Target="../media/image28.png"/><Relationship Id="rId4" Type="http://schemas.openxmlformats.org/officeDocument/2006/relationships/image" Target="../media/image18.emf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2.xml"/><Relationship Id="rId5" Type="http://schemas.openxmlformats.org/officeDocument/2006/relationships/image" Target="../media/image33.png"/><Relationship Id="rId4" Type="http://schemas.openxmlformats.org/officeDocument/2006/relationships/image" Target="../media/image18.emf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3.xml"/><Relationship Id="rId4" Type="http://schemas.openxmlformats.org/officeDocument/2006/relationships/image" Target="../media/image18.emf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4.xml"/><Relationship Id="rId4" Type="http://schemas.openxmlformats.org/officeDocument/2006/relationships/image" Target="../media/image18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5.xml"/><Relationship Id="rId5" Type="http://schemas.openxmlformats.org/officeDocument/2006/relationships/image" Target="../media/image34.png"/><Relationship Id="rId4" Type="http://schemas.openxmlformats.org/officeDocument/2006/relationships/image" Target="../media/image24.emf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6.xml"/><Relationship Id="rId4" Type="http://schemas.openxmlformats.org/officeDocument/2006/relationships/image" Target="../media/image18.emf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7.xml"/><Relationship Id="rId5" Type="http://schemas.openxmlformats.org/officeDocument/2006/relationships/image" Target="../media/image28.png"/><Relationship Id="rId4" Type="http://schemas.openxmlformats.org/officeDocument/2006/relationships/image" Target="../media/image18.emf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8.xml"/><Relationship Id="rId4" Type="http://schemas.openxmlformats.org/officeDocument/2006/relationships/image" Target="../media/image18.emf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9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0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1.xml"/><Relationship Id="rId6" Type="http://schemas.openxmlformats.org/officeDocument/2006/relationships/image" Target="../media/image26.png"/><Relationship Id="rId5" Type="http://schemas.openxmlformats.org/officeDocument/2006/relationships/image" Target="../media/image25.jpg"/><Relationship Id="rId4" Type="http://schemas.openxmlformats.org/officeDocument/2006/relationships/image" Target="../media/image24.emf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2.xml"/><Relationship Id="rId4" Type="http://schemas.openxmlformats.org/officeDocument/2006/relationships/image" Target="../media/image18.emf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37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5.xml"/><Relationship Id="rId4" Type="http://schemas.openxmlformats.org/officeDocument/2006/relationships/image" Target="../media/image2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6.xml"/><Relationship Id="rId4" Type="http://schemas.openxmlformats.org/officeDocument/2006/relationships/image" Target="../media/image23.emf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7.xml"/><Relationship Id="rId5" Type="http://schemas.openxmlformats.org/officeDocument/2006/relationships/image" Target="../media/image27.png"/><Relationship Id="rId4" Type="http://schemas.openxmlformats.org/officeDocument/2006/relationships/image" Target="../media/image23.emf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41.bin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0.xml"/><Relationship Id="rId4" Type="http://schemas.openxmlformats.org/officeDocument/2006/relationships/image" Target="../media/image23.emf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1.xml"/><Relationship Id="rId4" Type="http://schemas.openxmlformats.org/officeDocument/2006/relationships/image" Target="../media/image23.emf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2.xml"/><Relationship Id="rId5" Type="http://schemas.openxmlformats.org/officeDocument/2006/relationships/image" Target="../media/image27.png"/><Relationship Id="rId4" Type="http://schemas.openxmlformats.org/officeDocument/2006/relationships/image" Target="../media/image23.emf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3.xml"/><Relationship Id="rId5" Type="http://schemas.openxmlformats.org/officeDocument/2006/relationships/image" Target="../media/image28.png"/><Relationship Id="rId4" Type="http://schemas.openxmlformats.org/officeDocument/2006/relationships/image" Target="../media/image23.emf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tiff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pn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.png"/><Relationship Id="rId4" Type="http://schemas.openxmlformats.org/officeDocument/2006/relationships/image" Target="../media/image41.jpeg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2.jpeg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6.jpeg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6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6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26.png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25.jp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47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8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57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9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58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59.xml"/><Relationship Id="rId4" Type="http://schemas.openxmlformats.org/officeDocument/2006/relationships/image" Target="../media/image18.emf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0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1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2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3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4.xml"/><Relationship Id="rId4" Type="http://schemas.openxmlformats.org/officeDocument/2006/relationships/image" Target="../media/image18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6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5.xml"/><Relationship Id="rId4" Type="http://schemas.openxmlformats.org/officeDocument/2006/relationships/image" Target="../media/image18.emf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7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6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8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7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9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8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9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0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1.xml"/><Relationship Id="rId5" Type="http://schemas.openxmlformats.org/officeDocument/2006/relationships/image" Target="../media/image28.png"/><Relationship Id="rId4" Type="http://schemas.openxmlformats.org/officeDocument/2006/relationships/image" Target="../media/image18.emf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2.xml"/><Relationship Id="rId5" Type="http://schemas.openxmlformats.org/officeDocument/2006/relationships/image" Target="../media/image29.png"/><Relationship Id="rId4" Type="http://schemas.openxmlformats.org/officeDocument/2006/relationships/image" Target="../media/image18.emf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3.xml"/><Relationship Id="rId5" Type="http://schemas.openxmlformats.org/officeDocument/2006/relationships/image" Target="../media/image31.png"/><Relationship Id="rId4" Type="http://schemas.openxmlformats.org/officeDocument/2006/relationships/image" Target="../media/image30.emf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4.xml"/><Relationship Id="rId5" Type="http://schemas.openxmlformats.org/officeDocument/2006/relationships/image" Target="../media/image32.png"/><Relationship Id="rId4" Type="http://schemas.openxmlformats.org/officeDocument/2006/relationships/image" Target="../media/image18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6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5.xml"/><Relationship Id="rId5" Type="http://schemas.openxmlformats.org/officeDocument/2006/relationships/image" Target="../media/image28.png"/><Relationship Id="rId4" Type="http://schemas.openxmlformats.org/officeDocument/2006/relationships/image" Target="../media/image18.emf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7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6.xml"/><Relationship Id="rId5" Type="http://schemas.openxmlformats.org/officeDocument/2006/relationships/image" Target="../media/image33.png"/><Relationship Id="rId4" Type="http://schemas.openxmlformats.org/officeDocument/2006/relationships/image" Target="../media/image18.emf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8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7.xml"/><Relationship Id="rId5" Type="http://schemas.openxmlformats.org/officeDocument/2006/relationships/image" Target="../media/image28.png"/><Relationship Id="rId4" Type="http://schemas.openxmlformats.org/officeDocument/2006/relationships/image" Target="../media/image18.emf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9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8.xml"/><Relationship Id="rId5" Type="http://schemas.openxmlformats.org/officeDocument/2006/relationships/image" Target="../media/image33.png"/><Relationship Id="rId4" Type="http://schemas.openxmlformats.org/officeDocument/2006/relationships/image" Target="../media/image18.emf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9.xml"/><Relationship Id="rId4" Type="http://schemas.openxmlformats.org/officeDocument/2006/relationships/image" Target="../media/image18.emf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0.xml"/><Relationship Id="rId4" Type="http://schemas.openxmlformats.org/officeDocument/2006/relationships/image" Target="../media/image18.emf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1.xml"/><Relationship Id="rId5" Type="http://schemas.openxmlformats.org/officeDocument/2006/relationships/image" Target="../media/image34.png"/><Relationship Id="rId4" Type="http://schemas.openxmlformats.org/officeDocument/2006/relationships/image" Target="../media/image30.emf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2.xml"/><Relationship Id="rId4" Type="http://schemas.openxmlformats.org/officeDocument/2006/relationships/image" Target="../media/image18.emf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3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4.xml"/><Relationship Id="rId4" Type="http://schemas.openxmlformats.org/officeDocument/2006/relationships/image" Target="../media/image18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6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5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7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6.xml"/><Relationship Id="rId6" Type="http://schemas.openxmlformats.org/officeDocument/2006/relationships/image" Target="../media/image26.png"/><Relationship Id="rId5" Type="http://schemas.openxmlformats.org/officeDocument/2006/relationships/image" Target="../media/image25.jpg"/><Relationship Id="rId4" Type="http://schemas.openxmlformats.org/officeDocument/2006/relationships/image" Target="../media/image24.emf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8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7.xml"/><Relationship Id="rId4" Type="http://schemas.openxmlformats.org/officeDocument/2006/relationships/image" Target="../media/image18.emf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26.png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25.jp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79.bin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90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91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92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93.xml"/><Relationship Id="rId4" Type="http://schemas.openxmlformats.org/officeDocument/2006/relationships/image" Target="../media/image18.emf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94.xml"/><Relationship Id="rId4" Type="http://schemas.openxmlformats.org/officeDocument/2006/relationships/image" Target="../media/image18.emf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95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6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96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7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97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8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98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9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99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00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01.xml"/><Relationship Id="rId5" Type="http://schemas.openxmlformats.org/officeDocument/2006/relationships/image" Target="../media/image28.png"/><Relationship Id="rId4" Type="http://schemas.openxmlformats.org/officeDocument/2006/relationships/image" Target="../media/image30.emf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02.xml"/><Relationship Id="rId5" Type="http://schemas.openxmlformats.org/officeDocument/2006/relationships/image" Target="../media/image29.png"/><Relationship Id="rId4" Type="http://schemas.openxmlformats.org/officeDocument/2006/relationships/image" Target="../media/image18.emf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03.xml"/><Relationship Id="rId5" Type="http://schemas.openxmlformats.org/officeDocument/2006/relationships/image" Target="../media/image31.png"/><Relationship Id="rId4" Type="http://schemas.openxmlformats.org/officeDocument/2006/relationships/image" Target="../media/image18.emf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04.xml"/><Relationship Id="rId5" Type="http://schemas.openxmlformats.org/officeDocument/2006/relationships/image" Target="../media/image32.png"/><Relationship Id="rId4" Type="http://schemas.openxmlformats.org/officeDocument/2006/relationships/image" Target="../media/image18.emf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05.xml"/><Relationship Id="rId5" Type="http://schemas.openxmlformats.org/officeDocument/2006/relationships/image" Target="../media/image28.png"/><Relationship Id="rId4" Type="http://schemas.openxmlformats.org/officeDocument/2006/relationships/image" Target="../media/image18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6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06.xml"/><Relationship Id="rId5" Type="http://schemas.openxmlformats.org/officeDocument/2006/relationships/image" Target="../media/image33.png"/><Relationship Id="rId4" Type="http://schemas.openxmlformats.org/officeDocument/2006/relationships/image" Target="../media/image18.emf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7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07.xml"/><Relationship Id="rId5" Type="http://schemas.openxmlformats.org/officeDocument/2006/relationships/image" Target="../media/image28.png"/><Relationship Id="rId4" Type="http://schemas.openxmlformats.org/officeDocument/2006/relationships/image" Target="../media/image18.emf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8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08.xml"/><Relationship Id="rId5" Type="http://schemas.openxmlformats.org/officeDocument/2006/relationships/image" Target="../media/image33.png"/><Relationship Id="rId4" Type="http://schemas.openxmlformats.org/officeDocument/2006/relationships/image" Target="../media/image18.emf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9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09.xml"/><Relationship Id="rId4" Type="http://schemas.openxmlformats.org/officeDocument/2006/relationships/image" Target="../media/image18.emf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10.xml"/><Relationship Id="rId4" Type="http://schemas.openxmlformats.org/officeDocument/2006/relationships/image" Target="../media/image18.emf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11.xml"/><Relationship Id="rId5" Type="http://schemas.openxmlformats.org/officeDocument/2006/relationships/image" Target="../media/image34.png"/><Relationship Id="rId4" Type="http://schemas.openxmlformats.org/officeDocument/2006/relationships/image" Target="../media/image24.emf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12.xml"/><Relationship Id="rId4" Type="http://schemas.openxmlformats.org/officeDocument/2006/relationships/image" Target="../media/image18.emf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13.xml"/><Relationship Id="rId5" Type="http://schemas.openxmlformats.org/officeDocument/2006/relationships/image" Target="../media/image28.png"/><Relationship Id="rId4" Type="http://schemas.openxmlformats.org/officeDocument/2006/relationships/image" Target="../media/image18.emf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14.xml"/><Relationship Id="rId4" Type="http://schemas.openxmlformats.org/officeDocument/2006/relationships/image" Target="../media/image18.emf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15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6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16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7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17.xml"/><Relationship Id="rId6" Type="http://schemas.openxmlformats.org/officeDocument/2006/relationships/image" Target="../media/image26.png"/><Relationship Id="rId5" Type="http://schemas.openxmlformats.org/officeDocument/2006/relationships/image" Target="../media/image25.jpg"/><Relationship Id="rId4" Type="http://schemas.openxmlformats.org/officeDocument/2006/relationships/image" Target="../media/image24.emf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8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18.xml"/><Relationship Id="rId4" Type="http://schemas.openxmlformats.org/officeDocument/2006/relationships/image" Target="../media/image18.emf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09.bin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21.xml"/><Relationship Id="rId4" Type="http://schemas.openxmlformats.org/officeDocument/2006/relationships/image" Target="../media/image23.emf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22.xml"/><Relationship Id="rId4" Type="http://schemas.openxmlformats.org/officeDocument/2006/relationships/image" Target="../media/image23.emf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23.xml"/><Relationship Id="rId5" Type="http://schemas.openxmlformats.org/officeDocument/2006/relationships/image" Target="../media/image27.png"/><Relationship Id="rId4" Type="http://schemas.openxmlformats.org/officeDocument/2006/relationships/image" Target="../media/image23.emf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13.bin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26.xml"/><Relationship Id="rId4" Type="http://schemas.openxmlformats.org/officeDocument/2006/relationships/image" Target="../media/image23.emf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27.xml"/><Relationship Id="rId4" Type="http://schemas.openxmlformats.org/officeDocument/2006/relationships/image" Target="../media/image23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6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28.xml"/><Relationship Id="rId5" Type="http://schemas.openxmlformats.org/officeDocument/2006/relationships/image" Target="../media/image27.png"/><Relationship Id="rId4" Type="http://schemas.openxmlformats.org/officeDocument/2006/relationships/image" Target="../media/image23.emf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7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29.xml"/><Relationship Id="rId5" Type="http://schemas.openxmlformats.org/officeDocument/2006/relationships/image" Target="../media/image28.png"/><Relationship Id="rId4" Type="http://schemas.openxmlformats.org/officeDocument/2006/relationships/image" Target="../media/image23.emf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6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5.jp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18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18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18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5" Type="http://schemas.openxmlformats.org/officeDocument/2006/relationships/image" Target="../media/image28.png"/><Relationship Id="rId4" Type="http://schemas.openxmlformats.org/officeDocument/2006/relationships/image" Target="../media/image18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5" Type="http://schemas.openxmlformats.org/officeDocument/2006/relationships/image" Target="../media/image29.png"/><Relationship Id="rId4" Type="http://schemas.openxmlformats.org/officeDocument/2006/relationships/image" Target="../media/image18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5" Type="http://schemas.openxmlformats.org/officeDocument/2006/relationships/image" Target="../media/image31.png"/><Relationship Id="rId4" Type="http://schemas.openxmlformats.org/officeDocument/2006/relationships/image" Target="../media/image30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5" Type="http://schemas.openxmlformats.org/officeDocument/2006/relationships/image" Target="../media/image32.png"/><Relationship Id="rId4" Type="http://schemas.openxmlformats.org/officeDocument/2006/relationships/image" Target="../media/image18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5" Type="http://schemas.openxmlformats.org/officeDocument/2006/relationships/image" Target="../media/image28.png"/><Relationship Id="rId4" Type="http://schemas.openxmlformats.org/officeDocument/2006/relationships/image" Target="../media/image18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5" Type="http://schemas.openxmlformats.org/officeDocument/2006/relationships/image" Target="../media/image33.png"/><Relationship Id="rId4" Type="http://schemas.openxmlformats.org/officeDocument/2006/relationships/image" Target="../media/image18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5" Type="http://schemas.openxmlformats.org/officeDocument/2006/relationships/image" Target="../media/image28.png"/><Relationship Id="rId4" Type="http://schemas.openxmlformats.org/officeDocument/2006/relationships/image" Target="../media/image18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5" Type="http://schemas.openxmlformats.org/officeDocument/2006/relationships/image" Target="../media/image33.png"/><Relationship Id="rId4" Type="http://schemas.openxmlformats.org/officeDocument/2006/relationships/image" Target="../media/image18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8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8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5" Type="http://schemas.openxmlformats.org/officeDocument/2006/relationships/image" Target="../media/image34.png"/><Relationship Id="rId4" Type="http://schemas.openxmlformats.org/officeDocument/2006/relationships/image" Target="../media/image30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18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18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6" Type="http://schemas.openxmlformats.org/officeDocument/2006/relationships/image" Target="../media/image26.png"/><Relationship Id="rId5" Type="http://schemas.openxmlformats.org/officeDocument/2006/relationships/image" Target="../media/image25.jpg"/><Relationship Id="rId4" Type="http://schemas.openxmlformats.org/officeDocument/2006/relationships/image" Target="../media/image24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4" Type="http://schemas.openxmlformats.org/officeDocument/2006/relationships/image" Target="../media/image18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6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25.jp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5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Relationship Id="rId4" Type="http://schemas.openxmlformats.org/officeDocument/2006/relationships/image" Target="../media/image18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4" Type="http://schemas.openxmlformats.org/officeDocument/2006/relationships/image" Target="../media/image18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7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Relationship Id="rId5" Type="http://schemas.openxmlformats.org/officeDocument/2006/relationships/image" Target="../media/image27.png"/><Relationship Id="rId4" Type="http://schemas.openxmlformats.org/officeDocument/2006/relationships/image" Target="../media/image18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5" Type="http://schemas.openxmlformats.org/officeDocument/2006/relationships/image" Target="../media/image28.png"/><Relationship Id="rId4" Type="http://schemas.openxmlformats.org/officeDocument/2006/relationships/image" Target="../media/image30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5" Type="http://schemas.openxmlformats.org/officeDocument/2006/relationships/image" Target="../media/image29.png"/><Relationship Id="rId4" Type="http://schemas.openxmlformats.org/officeDocument/2006/relationships/image" Target="../media/image18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1.xml"/><Relationship Id="rId5" Type="http://schemas.openxmlformats.org/officeDocument/2006/relationships/image" Target="../media/image31.png"/><Relationship Id="rId4" Type="http://schemas.openxmlformats.org/officeDocument/2006/relationships/image" Target="../media/image18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2.xml"/><Relationship Id="rId5" Type="http://schemas.openxmlformats.org/officeDocument/2006/relationships/image" Target="../media/image32.png"/><Relationship Id="rId4" Type="http://schemas.openxmlformats.org/officeDocument/2006/relationships/image" Target="../media/image18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Relationship Id="rId5" Type="http://schemas.openxmlformats.org/officeDocument/2006/relationships/image" Target="../media/image28.png"/><Relationship Id="rId4" Type="http://schemas.openxmlformats.org/officeDocument/2006/relationships/image" Target="../media/image18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4.xml"/><Relationship Id="rId5" Type="http://schemas.openxmlformats.org/officeDocument/2006/relationships/image" Target="../media/image33.png"/><Relationship Id="rId4" Type="http://schemas.openxmlformats.org/officeDocument/2006/relationships/image" Target="../media/image18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5.xml"/><Relationship Id="rId5" Type="http://schemas.openxmlformats.org/officeDocument/2006/relationships/image" Target="../media/image28.png"/><Relationship Id="rId4" Type="http://schemas.openxmlformats.org/officeDocument/2006/relationships/image" Target="../media/image18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6.xml"/><Relationship Id="rId5" Type="http://schemas.openxmlformats.org/officeDocument/2006/relationships/image" Target="../media/image33.png"/><Relationship Id="rId4" Type="http://schemas.openxmlformats.org/officeDocument/2006/relationships/image" Target="../media/image18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7.xml"/><Relationship Id="rId4" Type="http://schemas.openxmlformats.org/officeDocument/2006/relationships/image" Target="../media/image18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.xml"/><Relationship Id="rId4" Type="http://schemas.openxmlformats.org/officeDocument/2006/relationships/image" Target="../media/image18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.xml"/><Relationship Id="rId5" Type="http://schemas.openxmlformats.org/officeDocument/2006/relationships/image" Target="../media/image34.png"/><Relationship Id="rId4" Type="http://schemas.openxmlformats.org/officeDocument/2006/relationships/image" Target="../media/image24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.xml"/><Relationship Id="rId4" Type="http://schemas.openxmlformats.org/officeDocument/2006/relationships/image" Target="../media/image18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.xml"/><Relationship Id="rId5" Type="http://schemas.openxmlformats.org/officeDocument/2006/relationships/image" Target="../media/image28.png"/><Relationship Id="rId4" Type="http://schemas.openxmlformats.org/officeDocument/2006/relationships/image" Target="../media/image18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.xml"/><Relationship Id="rId4" Type="http://schemas.openxmlformats.org/officeDocument/2006/relationships/image" Target="../media/image18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.xml"/><Relationship Id="rId6" Type="http://schemas.openxmlformats.org/officeDocument/2006/relationships/image" Target="../media/image26.png"/><Relationship Id="rId5" Type="http://schemas.openxmlformats.org/officeDocument/2006/relationships/image" Target="../media/image25.jpg"/><Relationship Id="rId4" Type="http://schemas.openxmlformats.org/officeDocument/2006/relationships/image" Target="../media/image24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.xml"/><Relationship Id="rId4" Type="http://schemas.openxmlformats.org/officeDocument/2006/relationships/image" Target="../media/image18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65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Relationship Id="rId4" Type="http://schemas.openxmlformats.org/officeDocument/2006/relationships/image" Target="../media/image23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Relationship Id="rId4" Type="http://schemas.openxmlformats.org/officeDocument/2006/relationships/image" Target="../media/image23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Relationship Id="rId5" Type="http://schemas.openxmlformats.org/officeDocument/2006/relationships/image" Target="../media/image27.png"/><Relationship Id="rId4" Type="http://schemas.openxmlformats.org/officeDocument/2006/relationships/image" Target="../media/image2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8CA9EB8-5002-44B3-B479-64E71033ED4E}"/>
              </a:ext>
            </a:extLst>
          </p:cNvPr>
          <p:cNvSpPr/>
          <p:nvPr/>
        </p:nvSpPr>
        <p:spPr bwMode="white">
          <a:xfrm>
            <a:off x="7050460" y="6484768"/>
            <a:ext cx="5142701" cy="3732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41867" y="2464944"/>
            <a:ext cx="11108267" cy="1470025"/>
          </a:xfrm>
          <a:prstGeom prst="rect">
            <a:avLst/>
          </a:prstGeom>
        </p:spPr>
        <p:txBody>
          <a:bodyPr anchor="ctr"/>
          <a:lstStyle>
            <a:lvl1pPr algn="ctr">
              <a:defRPr sz="4267" cap="sm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Add Presenta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1867" y="4252804"/>
            <a:ext cx="11108267" cy="73152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Author or Presenter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EFA83E1-759B-405B-B68A-9B6C740828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1867" y="5164667"/>
            <a:ext cx="11108267" cy="7302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667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C5B8BF8-52F9-4CD9-BBF5-A931485F4965}"/>
              </a:ext>
            </a:extLst>
          </p:cNvPr>
          <p:cNvSpPr/>
          <p:nvPr/>
        </p:nvSpPr>
        <p:spPr bwMode="white">
          <a:xfrm>
            <a:off x="1" y="6256239"/>
            <a:ext cx="11989961" cy="60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B256C21-EA40-4B0F-97E7-E901D269C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867" y="6484768"/>
            <a:ext cx="11108267" cy="365125"/>
          </a:xfrm>
          <a:prstGeom prst="rect">
            <a:avLst/>
          </a:prstGeom>
        </p:spPr>
        <p:txBody>
          <a:bodyPr anchor="ctr"/>
          <a:lstStyle>
            <a:lvl1pPr algn="ctr">
              <a:defRPr sz="1333" b="1">
                <a:solidFill>
                  <a:srgbClr val="E80032"/>
                </a:solidFill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C2582F6-591A-7448-9FBF-4895DE6A34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4198"/>
            <a:ext cx="12192000" cy="1405467"/>
          </a:xfrm>
          <a:prstGeom prst="rect">
            <a:avLst/>
          </a:prstGeom>
        </p:spPr>
      </p:pic>
      <p:sp>
        <p:nvSpPr>
          <p:cNvPr id="9" name="Text Placeholder 19">
            <a:extLst>
              <a:ext uri="{FF2B5EF4-FFF2-40B4-BE49-F238E27FC236}">
                <a16:creationId xmlns:a16="http://schemas.microsoft.com/office/drawing/2014/main" id="{067C5715-B659-3943-BFF4-A1A1BBF42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96732" y="291154"/>
            <a:ext cx="4048809" cy="3137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FontTx/>
              <a:buNone/>
              <a:defRPr sz="14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Business or Function Name</a:t>
            </a:r>
          </a:p>
        </p:txBody>
      </p:sp>
    </p:spTree>
    <p:extLst>
      <p:ext uri="{BB962C8B-B14F-4D97-AF65-F5344CB8AC3E}">
        <p14:creationId xmlns:p14="http://schemas.microsoft.com/office/powerpoint/2010/main" val="3115549618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ide by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556CF733-3857-6B4C-B1B6-7EF7CC8EB1A2}"/>
              </a:ext>
            </a:extLst>
          </p:cNvPr>
          <p:cNvGrpSpPr/>
          <p:nvPr userDrawn="1"/>
        </p:nvGrpSpPr>
        <p:grpSpPr>
          <a:xfrm>
            <a:off x="-12671" y="1"/>
            <a:ext cx="12215224" cy="172327"/>
            <a:chOff x="-9503" y="0"/>
            <a:chExt cx="9161418" cy="129245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BE5EE069-9A7E-994E-B295-429161E7ED7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9503" y="776"/>
              <a:ext cx="4580709" cy="128469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477AD01D-397C-C747-9FE3-AC50449EDAD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V="1">
              <a:off x="4571206" y="0"/>
              <a:ext cx="4580709" cy="129245"/>
            </a:xfrm>
            <a:prstGeom prst="rect">
              <a:avLst/>
            </a:prstGeom>
          </p:spPr>
        </p:pic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F73913F-0226-4B28-AAC5-39D4FDF4480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46800" y="889000"/>
            <a:ext cx="5503333" cy="52832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953707-39C9-40EE-A018-D13137D15C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A8C48EA5-261B-4319-8D3B-711EC700B99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93171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August 2019</a:t>
            </a: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333F7A7F-89F3-44DA-A835-BAF97F5281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BD0160-6C0A-1A4C-B300-2327013A55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070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1EF9AC-ECED-4C4A-898A-146E82A80EE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39749" y="889000"/>
            <a:ext cx="5503335" cy="5283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6442321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0625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617A9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617A9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519658"/>
          </a:xfrm>
          <a:prstGeom prst="rect">
            <a:avLst/>
          </a:prstGeom>
          <a:noFill/>
          <a:ln>
            <a:solidFill>
              <a:srgbClr val="617A9F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225686" y="1115416"/>
            <a:ext cx="225670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b="1" cap="small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sp>
        <p:nvSpPr>
          <p:cNvPr id="12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5814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09417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617A9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617A9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382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568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 cap="small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617A9F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530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8220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 cap="small" baseline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45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83930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5844"/>
            <a:ext cx="31419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 cap="small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333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Logo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87C33A6-FF4C-AB42-9E2A-013F4F02C8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10968"/>
            <a:ext cx="12192000" cy="541867"/>
          </a:xfrm>
          <a:prstGeom prst="rect">
            <a:avLst/>
          </a:prstGeom>
        </p:spPr>
      </p:pic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CB978F2-E9DC-43A6-A84F-48F54FD554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1867" y="889000"/>
            <a:ext cx="11106151" cy="5283200"/>
          </a:xfrm>
          <a:prstGeom prst="rect">
            <a:avLst/>
          </a:prstGeom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133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1867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1733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4B87FB-ADA9-46D4-8FB7-72CF7CAC9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297" y="123735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2667" cap="small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81DE34CD-E61D-4FA8-ACC1-67A1F24A3A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200" b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D2B22BB1-91BE-41E5-AFBB-E2ECEFA427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ow Restricted</a:t>
            </a:r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C6C6C2DB-CFEA-471E-8F61-D8C09093D1B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87075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 userDrawn="1"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847474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6970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36963" y="3564819"/>
            <a:ext cx="9518073" cy="1477328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800" b="1" baseline="0">
                <a:solidFill>
                  <a:srgbClr val="404040"/>
                </a:solidFill>
                <a:latin typeface="Georgia" panose="02040502050405020303" pitchFamily="18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Same. Capitalize Each Word</a:t>
            </a:r>
          </a:p>
        </p:txBody>
      </p:sp>
      <p:grpSp>
        <p:nvGrpSpPr>
          <p:cNvPr id="16" name="object 3"/>
          <p:cNvGrpSpPr/>
          <p:nvPr userDrawn="1"/>
        </p:nvGrpSpPr>
        <p:grpSpPr>
          <a:xfrm>
            <a:off x="6096" y="4063"/>
            <a:ext cx="12180147" cy="1524000"/>
            <a:chOff x="4572" y="3047"/>
            <a:chExt cx="9135110" cy="1143000"/>
          </a:xfrm>
        </p:grpSpPr>
        <p:sp>
          <p:nvSpPr>
            <p:cNvPr id="17" name="object 4"/>
            <p:cNvSpPr/>
            <p:nvPr/>
          </p:nvSpPr>
          <p:spPr>
            <a:xfrm>
              <a:off x="4543043" y="3047"/>
              <a:ext cx="4596765" cy="1143000"/>
            </a:xfrm>
            <a:custGeom>
              <a:avLst/>
              <a:gdLst/>
              <a:ahLst/>
              <a:cxnLst/>
              <a:rect l="l" t="t" r="r" b="b"/>
              <a:pathLst>
                <a:path w="4596765" h="1143000">
                  <a:moveTo>
                    <a:pt x="4596384" y="0"/>
                  </a:moveTo>
                  <a:lnTo>
                    <a:pt x="0" y="0"/>
                  </a:lnTo>
                  <a:lnTo>
                    <a:pt x="0" y="1143000"/>
                  </a:lnTo>
                  <a:lnTo>
                    <a:pt x="4596384" y="1143000"/>
                  </a:lnTo>
                  <a:lnTo>
                    <a:pt x="4596384" y="0"/>
                  </a:lnTo>
                  <a:close/>
                </a:path>
              </a:pathLst>
            </a:custGeom>
            <a:solidFill>
              <a:srgbClr val="42536C"/>
            </a:solidFill>
          </p:spPr>
          <p:txBody>
            <a:bodyPr wrap="square" lIns="0" tIns="0" rIns="0" bIns="0" rtlCol="0"/>
            <a:lstStyle/>
            <a:p>
              <a:endParaRPr sz="320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pic>
          <p:nvPicPr>
            <p:cNvPr id="19" name="object 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572" y="3048"/>
              <a:ext cx="4540676" cy="1142744"/>
            </a:xfrm>
            <a:prstGeom prst="rect">
              <a:avLst/>
            </a:prstGeom>
          </p:spPr>
        </p:pic>
        <p:pic>
          <p:nvPicPr>
            <p:cNvPr id="23" name="object 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643883" y="272796"/>
              <a:ext cx="1790699" cy="589787"/>
            </a:xfrm>
            <a:prstGeom prst="rect">
              <a:avLst/>
            </a:prstGeom>
          </p:spPr>
        </p:pic>
      </p:grpSp>
      <p:sp>
        <p:nvSpPr>
          <p:cNvPr id="24" name="bg object 18"/>
          <p:cNvSpPr/>
          <p:nvPr userDrawn="1"/>
        </p:nvSpPr>
        <p:spPr>
          <a:xfrm>
            <a:off x="6096" y="6289056"/>
            <a:ext cx="12180147" cy="565573"/>
          </a:xfrm>
          <a:custGeom>
            <a:avLst/>
            <a:gdLst/>
            <a:ahLst/>
            <a:cxnLst/>
            <a:rect l="l" t="t" r="r" b="b"/>
            <a:pathLst>
              <a:path w="9135110" h="424179">
                <a:moveTo>
                  <a:pt x="9134856" y="0"/>
                </a:moveTo>
                <a:lnTo>
                  <a:pt x="0" y="0"/>
                </a:lnTo>
                <a:lnTo>
                  <a:pt x="0" y="423659"/>
                </a:lnTo>
                <a:lnTo>
                  <a:pt x="9134856" y="423659"/>
                </a:lnTo>
                <a:lnTo>
                  <a:pt x="9134856" y="0"/>
                </a:lnTo>
                <a:close/>
              </a:path>
            </a:pathLst>
          </a:custGeom>
          <a:solidFill>
            <a:srgbClr val="42536C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336963" y="2681787"/>
            <a:ext cx="9518073" cy="757130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 algn="ctr">
              <a:lnSpc>
                <a:spcPct val="100000"/>
              </a:lnSpc>
              <a:spcBef>
                <a:spcPts val="600"/>
              </a:spcBef>
              <a:defRPr sz="4800" b="1" baseline="0">
                <a:solidFill>
                  <a:srgbClr val="E80032"/>
                </a:solidFill>
                <a:latin typeface="Georgia" panose="02040502050405020303" pitchFamily="18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Title in Georgia Font 48</a:t>
            </a:r>
          </a:p>
        </p:txBody>
      </p:sp>
    </p:spTree>
    <p:extLst>
      <p:ext uri="{BB962C8B-B14F-4D97-AF65-F5344CB8AC3E}">
        <p14:creationId xmlns:p14="http://schemas.microsoft.com/office/powerpoint/2010/main" val="1855854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9779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526721" y="2903631"/>
            <a:ext cx="7138555" cy="738664"/>
          </a:xfrm>
        </p:spPr>
        <p:txBody>
          <a:bodyPr lIns="0" tIns="0" rIns="0" bIns="0"/>
          <a:lstStyle>
            <a:lvl1pPr>
              <a:defRPr sz="4800" b="1" i="0">
                <a:solidFill>
                  <a:srgbClr val="EA001A"/>
                </a:solidFill>
                <a:latin typeface="Georgia" panose="02040502050405020303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485136" y="1578863"/>
            <a:ext cx="7410873" cy="276999"/>
          </a:xfrm>
        </p:spPr>
        <p:txBody>
          <a:bodyPr lIns="0" tIns="0" rIns="0" bIns="0"/>
          <a:lstStyle>
            <a:lvl1pPr>
              <a:defRPr sz="18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/>
          </a:p>
        </p:txBody>
      </p:sp>
      <p:sp>
        <p:nvSpPr>
          <p:cNvPr id="10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1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2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bg object 19"/>
          <p:cNvSpPr/>
          <p:nvPr userDrawn="1"/>
        </p:nvSpPr>
        <p:spPr>
          <a:xfrm>
            <a:off x="542545" y="701040"/>
            <a:ext cx="11107420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3315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1728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bg object 19"/>
          <p:cNvSpPr/>
          <p:nvPr/>
        </p:nvSpPr>
        <p:spPr>
          <a:xfrm>
            <a:off x="542545" y="701040"/>
            <a:ext cx="11107420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581151" y="1048511"/>
            <a:ext cx="5127413" cy="4954693"/>
          </a:xfrm>
          <a:custGeom>
            <a:avLst/>
            <a:gdLst/>
            <a:ahLst/>
            <a:cxnLst/>
            <a:rect l="l" t="t" r="r" b="b"/>
            <a:pathLst>
              <a:path w="3845560" h="3716020">
                <a:moveTo>
                  <a:pt x="0" y="0"/>
                </a:moveTo>
                <a:lnTo>
                  <a:pt x="3845052" y="0"/>
                </a:lnTo>
                <a:lnTo>
                  <a:pt x="3845052" y="3715512"/>
                </a:lnTo>
                <a:lnTo>
                  <a:pt x="0" y="3715512"/>
                </a:lnTo>
                <a:lnTo>
                  <a:pt x="0" y="0"/>
                </a:lnTo>
                <a:close/>
              </a:path>
            </a:pathLst>
          </a:custGeom>
          <a:ln w="57912">
            <a:solidFill>
              <a:srgbClr val="EAEBEA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6516624" y="1798319"/>
            <a:ext cx="5127413" cy="4005580"/>
          </a:xfrm>
          <a:custGeom>
            <a:avLst/>
            <a:gdLst/>
            <a:ahLst/>
            <a:cxnLst/>
            <a:rect l="l" t="t" r="r" b="b"/>
            <a:pathLst>
              <a:path w="3845559" h="3004185">
                <a:moveTo>
                  <a:pt x="3845039" y="0"/>
                </a:moveTo>
                <a:lnTo>
                  <a:pt x="0" y="0"/>
                </a:lnTo>
                <a:lnTo>
                  <a:pt x="0" y="120396"/>
                </a:lnTo>
                <a:lnTo>
                  <a:pt x="0" y="3003804"/>
                </a:lnTo>
                <a:lnTo>
                  <a:pt x="3845039" y="3003804"/>
                </a:lnTo>
                <a:lnTo>
                  <a:pt x="3845039" y="120396"/>
                </a:lnTo>
                <a:lnTo>
                  <a:pt x="3845039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6516624" y="1798321"/>
            <a:ext cx="5127413" cy="4005580"/>
          </a:xfrm>
          <a:custGeom>
            <a:avLst/>
            <a:gdLst/>
            <a:ahLst/>
            <a:cxnLst/>
            <a:rect l="l" t="t" r="r" b="b"/>
            <a:pathLst>
              <a:path w="3845559" h="3004185">
                <a:moveTo>
                  <a:pt x="0" y="0"/>
                </a:moveTo>
                <a:lnTo>
                  <a:pt x="3845051" y="0"/>
                </a:lnTo>
                <a:lnTo>
                  <a:pt x="3845051" y="3003804"/>
                </a:lnTo>
                <a:lnTo>
                  <a:pt x="0" y="3003804"/>
                </a:lnTo>
                <a:lnTo>
                  <a:pt x="0" y="0"/>
                </a:lnTo>
                <a:close/>
              </a:path>
            </a:pathLst>
          </a:custGeom>
          <a:ln w="57912">
            <a:solidFill>
              <a:srgbClr val="EAEBEA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526721" y="2903631"/>
            <a:ext cx="7138555" cy="738664"/>
          </a:xfrm>
        </p:spPr>
        <p:txBody>
          <a:bodyPr lIns="0" tIns="0" rIns="0" bIns="0"/>
          <a:lstStyle>
            <a:lvl1pPr>
              <a:defRPr sz="4800" b="1" i="0">
                <a:solidFill>
                  <a:srgbClr val="EA001A"/>
                </a:solidFill>
                <a:latin typeface="Georgia" panose="02040502050405020303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89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698047" y="2041244"/>
            <a:ext cx="4831927" cy="289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rgbClr val="40404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/>
          </a:p>
        </p:txBody>
      </p:sp>
      <p:sp>
        <p:nvSpPr>
          <p:cNvPr id="15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3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24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4135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lient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41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526721" y="2903631"/>
            <a:ext cx="7138555" cy="738664"/>
          </a:xfrm>
        </p:spPr>
        <p:txBody>
          <a:bodyPr lIns="0" tIns="0" rIns="0" bIns="0"/>
          <a:lstStyle>
            <a:lvl1pPr>
              <a:defRPr sz="4800" b="1" i="0">
                <a:solidFill>
                  <a:srgbClr val="EA001A"/>
                </a:solidFill>
                <a:latin typeface="Georgia" panose="02040502050405020303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/>
          </a:p>
        </p:txBody>
      </p:sp>
      <p:sp>
        <p:nvSpPr>
          <p:cNvPr id="9" name="bg object 19"/>
          <p:cNvSpPr/>
          <p:nvPr userDrawn="1"/>
        </p:nvSpPr>
        <p:spPr>
          <a:xfrm>
            <a:off x="542545" y="701040"/>
            <a:ext cx="11107420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bg object 18"/>
          <p:cNvSpPr/>
          <p:nvPr userDrawn="1"/>
        </p:nvSpPr>
        <p:spPr>
          <a:xfrm>
            <a:off x="6096" y="6289056"/>
            <a:ext cx="12180147" cy="565573"/>
          </a:xfrm>
          <a:custGeom>
            <a:avLst/>
            <a:gdLst/>
            <a:ahLst/>
            <a:cxnLst/>
            <a:rect l="l" t="t" r="r" b="b"/>
            <a:pathLst>
              <a:path w="9135110" h="424179">
                <a:moveTo>
                  <a:pt x="9134856" y="0"/>
                </a:moveTo>
                <a:lnTo>
                  <a:pt x="0" y="0"/>
                </a:lnTo>
                <a:lnTo>
                  <a:pt x="0" y="423659"/>
                </a:lnTo>
                <a:lnTo>
                  <a:pt x="9134856" y="423659"/>
                </a:lnTo>
                <a:lnTo>
                  <a:pt x="9134856" y="0"/>
                </a:lnTo>
                <a:close/>
              </a:path>
            </a:pathLst>
          </a:custGeom>
          <a:solidFill>
            <a:srgbClr val="42536C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994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ide by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22E1D1F4-B582-2B47-93B9-57694A4F14B5}"/>
              </a:ext>
            </a:extLst>
          </p:cNvPr>
          <p:cNvGrpSpPr/>
          <p:nvPr userDrawn="1"/>
        </p:nvGrpSpPr>
        <p:grpSpPr>
          <a:xfrm>
            <a:off x="-12671" y="1"/>
            <a:ext cx="12215224" cy="172327"/>
            <a:chOff x="-9503" y="0"/>
            <a:chExt cx="9161418" cy="129245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6678AC2-8ED4-F04B-932B-63993B88126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9503" y="776"/>
              <a:ext cx="4580709" cy="128469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1D1A2851-9687-924D-A970-393C7D8E1BB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V="1">
              <a:off x="4571206" y="0"/>
              <a:ext cx="4580709" cy="129245"/>
            </a:xfrm>
            <a:prstGeom prst="rect">
              <a:avLst/>
            </a:prstGeom>
          </p:spPr>
        </p:pic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A8FCFEE-3CB5-4A66-B883-B4C704B541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1866" y="889000"/>
            <a:ext cx="5503335" cy="52832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F73913F-0226-4B28-AAC5-39D4FDF4480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46800" y="889000"/>
            <a:ext cx="5503333" cy="52832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953707-39C9-40EE-A018-D13137D15C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A8C48EA5-261B-4319-8D3B-711EC700B99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93171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August 2019</a:t>
            </a: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333F7A7F-89F3-44DA-A835-BAF97F5281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0C66949-652E-144D-80D0-2F0941131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070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393467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li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4846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7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bg object 19"/>
          <p:cNvSpPr/>
          <p:nvPr userDrawn="1"/>
        </p:nvSpPr>
        <p:spPr>
          <a:xfrm>
            <a:off x="542545" y="701040"/>
            <a:ext cx="11107420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963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025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10934700" cy="509541"/>
          </a:xfrm>
          <a:prstGeom prst="rect">
            <a:avLst/>
          </a:prstGeom>
        </p:spPr>
        <p:txBody>
          <a:bodyPr vert="horz" wrap="square" lIns="0" tIns="18288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bg object 19"/>
          <p:cNvSpPr/>
          <p:nvPr userDrawn="1"/>
        </p:nvSpPr>
        <p:spPr>
          <a:xfrm>
            <a:off x="628650" y="701040"/>
            <a:ext cx="10953752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9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20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9742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537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10934700" cy="509541"/>
          </a:xfrm>
        </p:spPr>
        <p:txBody>
          <a:bodyPr vert="horz"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9" name="bg object 19"/>
          <p:cNvSpPr/>
          <p:nvPr userDrawn="1"/>
        </p:nvSpPr>
        <p:spPr>
          <a:xfrm>
            <a:off x="628650" y="701040"/>
            <a:ext cx="10953752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1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2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722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876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2865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6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7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329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156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8466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0528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021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2058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6517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1024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6256800" cy="509541"/>
          </a:xfrm>
          <a:prstGeom prst="rect">
            <a:avLst/>
          </a:prstGeom>
        </p:spPr>
        <p:txBody>
          <a:bodyPr vert="horz" wrap="square" lIns="0" tIns="18288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85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9263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7893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8399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0033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Side by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>
            <a:extLst>
              <a:ext uri="{FF2B5EF4-FFF2-40B4-BE49-F238E27FC236}">
                <a16:creationId xmlns:a16="http://schemas.microsoft.com/office/drawing/2014/main" id="{87468C5E-6740-5C4C-A336-CE0FAB671510}"/>
              </a:ext>
            </a:extLst>
          </p:cNvPr>
          <p:cNvGrpSpPr/>
          <p:nvPr userDrawn="1"/>
        </p:nvGrpSpPr>
        <p:grpSpPr>
          <a:xfrm>
            <a:off x="-12671" y="1"/>
            <a:ext cx="12215224" cy="172327"/>
            <a:chOff x="-9503" y="0"/>
            <a:chExt cx="9161418" cy="129245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0012E976-FF85-014D-ABD2-6DF594F704E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9503" y="776"/>
              <a:ext cx="4580709" cy="128469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526BBED9-005B-B04D-9FCF-847D21FAAA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V="1">
              <a:off x="4571206" y="0"/>
              <a:ext cx="4580709" cy="129245"/>
            </a:xfrm>
            <a:prstGeom prst="rect">
              <a:avLst/>
            </a:prstGeom>
          </p:spPr>
        </p:pic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953707-39C9-40EE-A018-D13137D15C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A8C48EA5-261B-4319-8D3B-711EC700B99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93171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August 2019</a:t>
            </a: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333F7A7F-89F3-44DA-A835-BAF97F5281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0C66949-652E-144D-80D0-2F0941131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070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E98C57C-3C33-CE4E-8479-EDA205AE0DE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0277" y="2678725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4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1482D7EA-AE1C-504E-BE5C-1CA3C70D03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85603" y="2678725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4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74B8C9E4-FF4F-7B42-873D-83D53A41EC6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05763" y="2678725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4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3ED32447-934C-A747-AD12-8AE8BBE149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277" y="1833126"/>
            <a:ext cx="3552119" cy="70977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lIns="91440" tIns="91440" rIns="91440" bIns="91440" anchor="ctr">
            <a:normAutofit/>
          </a:bodyPr>
          <a:lstStyle>
            <a:lvl1pPr marL="0" indent="0" algn="ctr">
              <a:buFontTx/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E3BC61D-758B-3645-8A0B-5D39DA32EA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08825" y="1833126"/>
            <a:ext cx="3552119" cy="70977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lIns="91440" tIns="91440" rIns="91440" bIns="91440" anchor="ctr">
            <a:normAutofit/>
          </a:bodyPr>
          <a:lstStyle>
            <a:lvl1pPr marL="0" indent="0" algn="ctr">
              <a:buFontTx/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9AF090C5-E655-504A-828A-FB57F8D13E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94151" y="1833126"/>
            <a:ext cx="3552119" cy="70977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lIns="91440" tIns="91440" rIns="91440" bIns="91440" anchor="ctr">
            <a:normAutofit/>
          </a:bodyPr>
          <a:lstStyle>
            <a:lvl1pPr marL="0" indent="0" algn="ctr">
              <a:buFontTx/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AA9A1A8-B4A9-6B4B-A9C9-1879697036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00277" y="4733948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4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A65E8124-A041-A74D-AD15-DF172FD40FE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285603" y="4733948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4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9A554E90-1650-294B-9B8F-6657804344E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05763" y="4733948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4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2959A062-153A-3C43-8B51-D6D990BFD34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00277" y="3888349"/>
            <a:ext cx="3552119" cy="70977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lIns="91440" tIns="91440" rIns="91440" bIns="91440" anchor="ctr">
            <a:normAutofit/>
          </a:bodyPr>
          <a:lstStyle>
            <a:lvl1pPr marL="0" indent="0" algn="ctr">
              <a:buFontTx/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294AE25-C03F-1E49-BDC4-44AA5E95D5B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08825" y="3888349"/>
            <a:ext cx="3552119" cy="70977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lIns="91440" tIns="91440" rIns="91440" bIns="91440" anchor="ctr">
            <a:normAutofit/>
          </a:bodyPr>
          <a:lstStyle>
            <a:lvl1pPr marL="0" indent="0" algn="ctr">
              <a:buFontTx/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53C0568B-2A75-7540-AEA8-833070C6F5D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094151" y="3888349"/>
            <a:ext cx="3552119" cy="70977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lIns="91440" tIns="91440" rIns="91440" bIns="91440" anchor="ctr">
            <a:normAutofit/>
          </a:bodyPr>
          <a:lstStyle>
            <a:lvl1pPr marL="0" indent="0" algn="ctr">
              <a:buFontTx/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07779566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3275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2161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3276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0448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426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6053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082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5689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18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5" name="TextBox 14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598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6682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4673646" cy="509541"/>
          </a:xfrm>
          <a:prstGeom prst="rect">
            <a:avLst/>
          </a:prstGeom>
        </p:spPr>
        <p:txBody>
          <a:bodyPr vert="horz" wrap="square" lIns="0" tIns="18288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0129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113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4673646" cy="509541"/>
          </a:xfrm>
          <a:prstGeom prst="rect">
            <a:avLst/>
          </a:prstGeom>
        </p:spPr>
        <p:txBody>
          <a:bodyPr vert="horz" wrap="square" lIns="0" tIns="18288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8" name="TextBox 1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2742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8129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6256800" cy="509541"/>
          </a:xfrm>
          <a:prstGeom prst="rect">
            <a:avLst/>
          </a:prstGeom>
        </p:spPr>
        <p:txBody>
          <a:bodyPr vert="horz" wrap="square" lIns="0" tIns="18288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3708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2342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6256800" cy="509541"/>
          </a:xfrm>
          <a:prstGeom prst="rect">
            <a:avLst/>
          </a:prstGeom>
        </p:spPr>
        <p:txBody>
          <a:bodyPr vert="horz" wrap="square" lIns="0" tIns="18288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22" name="TextBox 2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672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2166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6164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D4C9347-C5F0-4A4A-9474-1F90C06C56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C8F05081-874B-4885-9D0A-C1D29F88B46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87075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August 2019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F67A3BD9-A5F9-487B-B01A-CEE25536BE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30BA191-8397-4743-8C16-305A4896CDCA}"/>
              </a:ext>
            </a:extLst>
          </p:cNvPr>
          <p:cNvGrpSpPr/>
          <p:nvPr userDrawn="1"/>
        </p:nvGrpSpPr>
        <p:grpSpPr>
          <a:xfrm>
            <a:off x="-12671" y="1"/>
            <a:ext cx="12215224" cy="172327"/>
            <a:chOff x="-9503" y="0"/>
            <a:chExt cx="9161418" cy="129245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317A559-985B-134F-BDAA-EEFE4C68335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9503" y="776"/>
              <a:ext cx="4580709" cy="128469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DD27103-818E-E344-9BDE-847505E62C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V="1">
              <a:off x="4571206" y="0"/>
              <a:ext cx="4580709" cy="1292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27989947"/>
      </p:ext>
    </p:extLst>
  </p:cSld>
  <p:clrMapOvr>
    <a:masterClrMapping/>
  </p:clrMapOvr>
  <p:hf hdr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2621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617A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3905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2A35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4960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42536C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4622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481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10933200" cy="509541"/>
          </a:xfrm>
        </p:spPr>
        <p:txBody>
          <a:bodyPr vert="horz"/>
          <a:lstStyle>
            <a:lvl1pPr>
              <a:defRPr sz="32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911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620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1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6012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3693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1080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101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4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2386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7959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object 3"/>
          <p:cNvGrpSpPr/>
          <p:nvPr userDrawn="1"/>
        </p:nvGrpSpPr>
        <p:grpSpPr>
          <a:xfrm>
            <a:off x="6096" y="4063"/>
            <a:ext cx="12180147" cy="1524000"/>
            <a:chOff x="4572" y="3047"/>
            <a:chExt cx="9135110" cy="1143000"/>
          </a:xfrm>
        </p:grpSpPr>
        <p:sp>
          <p:nvSpPr>
            <p:cNvPr id="11" name="object 4"/>
            <p:cNvSpPr/>
            <p:nvPr/>
          </p:nvSpPr>
          <p:spPr>
            <a:xfrm>
              <a:off x="4543043" y="3047"/>
              <a:ext cx="4596765" cy="1143000"/>
            </a:xfrm>
            <a:custGeom>
              <a:avLst/>
              <a:gdLst/>
              <a:ahLst/>
              <a:cxnLst/>
              <a:rect l="l" t="t" r="r" b="b"/>
              <a:pathLst>
                <a:path w="4596765" h="1143000">
                  <a:moveTo>
                    <a:pt x="4596384" y="0"/>
                  </a:moveTo>
                  <a:lnTo>
                    <a:pt x="0" y="0"/>
                  </a:lnTo>
                  <a:lnTo>
                    <a:pt x="0" y="1143000"/>
                  </a:lnTo>
                  <a:lnTo>
                    <a:pt x="4596384" y="1143000"/>
                  </a:lnTo>
                  <a:lnTo>
                    <a:pt x="4596384" y="0"/>
                  </a:lnTo>
                  <a:close/>
                </a:path>
              </a:pathLst>
            </a:custGeom>
            <a:solidFill>
              <a:srgbClr val="42536C"/>
            </a:solidFill>
          </p:spPr>
          <p:txBody>
            <a:bodyPr wrap="square" lIns="0" tIns="0" rIns="0" bIns="0" rtlCol="0"/>
            <a:lstStyle/>
            <a:p>
              <a:endParaRPr sz="320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pic>
          <p:nvPicPr>
            <p:cNvPr id="12" name="object 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572" y="3048"/>
              <a:ext cx="4540676" cy="1142744"/>
            </a:xfrm>
            <a:prstGeom prst="rect">
              <a:avLst/>
            </a:prstGeom>
          </p:spPr>
        </p:pic>
        <p:pic>
          <p:nvPicPr>
            <p:cNvPr id="13" name="object 6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643883" y="272796"/>
              <a:ext cx="1790699" cy="589787"/>
            </a:xfrm>
            <a:prstGeom prst="rect">
              <a:avLst/>
            </a:prstGeom>
          </p:spPr>
        </p:pic>
      </p:grpSp>
      <p:sp>
        <p:nvSpPr>
          <p:cNvPr id="14" name="bg object 18"/>
          <p:cNvSpPr/>
          <p:nvPr userDrawn="1"/>
        </p:nvSpPr>
        <p:spPr>
          <a:xfrm>
            <a:off x="6096" y="6289056"/>
            <a:ext cx="12180147" cy="565573"/>
          </a:xfrm>
          <a:custGeom>
            <a:avLst/>
            <a:gdLst/>
            <a:ahLst/>
            <a:cxnLst/>
            <a:rect l="l" t="t" r="r" b="b"/>
            <a:pathLst>
              <a:path w="9135110" h="424179">
                <a:moveTo>
                  <a:pt x="9134856" y="0"/>
                </a:moveTo>
                <a:lnTo>
                  <a:pt x="0" y="0"/>
                </a:lnTo>
                <a:lnTo>
                  <a:pt x="0" y="423659"/>
                </a:lnTo>
                <a:lnTo>
                  <a:pt x="9134856" y="423659"/>
                </a:lnTo>
                <a:lnTo>
                  <a:pt x="9134856" y="0"/>
                </a:lnTo>
                <a:close/>
              </a:path>
            </a:pathLst>
          </a:custGeom>
          <a:solidFill>
            <a:srgbClr val="42536C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336963" y="2875002"/>
            <a:ext cx="9518073" cy="110799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6600" b="1" dirty="0">
                <a:solidFill>
                  <a:srgbClr val="40404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hank</a:t>
            </a:r>
            <a:r>
              <a:rPr lang="en-US" sz="6600" b="1" baseline="0" dirty="0">
                <a:solidFill>
                  <a:srgbClr val="40404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you</a:t>
            </a:r>
            <a:endParaRPr lang="en-US" sz="6600" b="1" dirty="0">
              <a:solidFill>
                <a:srgbClr val="40404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755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1005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4" name="TextBox 93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77865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082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36963" y="3564819"/>
            <a:ext cx="9518073" cy="73866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800" b="1" baseline="0">
                <a:solidFill>
                  <a:srgbClr val="40404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Same. Capitalize Each Word</a:t>
            </a:r>
          </a:p>
        </p:txBody>
      </p:sp>
      <p:grpSp>
        <p:nvGrpSpPr>
          <p:cNvPr id="17" name="object 3"/>
          <p:cNvGrpSpPr/>
          <p:nvPr userDrawn="1"/>
        </p:nvGrpSpPr>
        <p:grpSpPr>
          <a:xfrm>
            <a:off x="6096" y="4063"/>
            <a:ext cx="12180147" cy="1524000"/>
            <a:chOff x="4572" y="3047"/>
            <a:chExt cx="9135110" cy="1143000"/>
          </a:xfrm>
        </p:grpSpPr>
        <p:sp>
          <p:nvSpPr>
            <p:cNvPr id="19" name="object 4"/>
            <p:cNvSpPr/>
            <p:nvPr/>
          </p:nvSpPr>
          <p:spPr>
            <a:xfrm>
              <a:off x="4543043" y="3047"/>
              <a:ext cx="4596765" cy="1143000"/>
            </a:xfrm>
            <a:custGeom>
              <a:avLst/>
              <a:gdLst/>
              <a:ahLst/>
              <a:cxnLst/>
              <a:rect l="l" t="t" r="r" b="b"/>
              <a:pathLst>
                <a:path w="4596765" h="1143000">
                  <a:moveTo>
                    <a:pt x="4596384" y="0"/>
                  </a:moveTo>
                  <a:lnTo>
                    <a:pt x="0" y="0"/>
                  </a:lnTo>
                  <a:lnTo>
                    <a:pt x="0" y="1143000"/>
                  </a:lnTo>
                  <a:lnTo>
                    <a:pt x="4596384" y="1143000"/>
                  </a:lnTo>
                  <a:lnTo>
                    <a:pt x="4596384" y="0"/>
                  </a:lnTo>
                  <a:close/>
                </a:path>
              </a:pathLst>
            </a:custGeom>
            <a:solidFill>
              <a:srgbClr val="42536C"/>
            </a:solidFill>
          </p:spPr>
          <p:txBody>
            <a:bodyPr wrap="square" lIns="0" tIns="0" rIns="0" bIns="0" rtlCol="0"/>
            <a:lstStyle/>
            <a:p>
              <a:endParaRPr sz="320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pic>
          <p:nvPicPr>
            <p:cNvPr id="23" name="object 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572" y="3048"/>
              <a:ext cx="4540676" cy="1142744"/>
            </a:xfrm>
            <a:prstGeom prst="rect">
              <a:avLst/>
            </a:prstGeom>
          </p:spPr>
        </p:pic>
        <p:pic>
          <p:nvPicPr>
            <p:cNvPr id="24" name="object 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643883" y="272796"/>
              <a:ext cx="1790699" cy="589787"/>
            </a:xfrm>
            <a:prstGeom prst="rect">
              <a:avLst/>
            </a:prstGeom>
          </p:spPr>
        </p:pic>
      </p:grpSp>
      <p:sp>
        <p:nvSpPr>
          <p:cNvPr id="25" name="bg object 18"/>
          <p:cNvSpPr/>
          <p:nvPr userDrawn="1"/>
        </p:nvSpPr>
        <p:spPr>
          <a:xfrm>
            <a:off x="6096" y="6289056"/>
            <a:ext cx="12180147" cy="565573"/>
          </a:xfrm>
          <a:custGeom>
            <a:avLst/>
            <a:gdLst/>
            <a:ahLst/>
            <a:cxnLst/>
            <a:rect l="l" t="t" r="r" b="b"/>
            <a:pathLst>
              <a:path w="9135110" h="424179">
                <a:moveTo>
                  <a:pt x="9134856" y="0"/>
                </a:moveTo>
                <a:lnTo>
                  <a:pt x="0" y="0"/>
                </a:lnTo>
                <a:lnTo>
                  <a:pt x="0" y="423659"/>
                </a:lnTo>
                <a:lnTo>
                  <a:pt x="9134856" y="423659"/>
                </a:lnTo>
                <a:lnTo>
                  <a:pt x="9134856" y="0"/>
                </a:lnTo>
                <a:close/>
              </a:path>
            </a:pathLst>
          </a:custGeom>
          <a:solidFill>
            <a:srgbClr val="42536C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336963" y="2681787"/>
            <a:ext cx="9518073" cy="757130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 algn="ctr">
              <a:lnSpc>
                <a:spcPct val="100000"/>
              </a:lnSpc>
              <a:spcBef>
                <a:spcPts val="600"/>
              </a:spcBef>
              <a:defRPr sz="4800" b="1" baseline="0">
                <a:solidFill>
                  <a:srgbClr val="E80032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Title in Georgia Font 48</a:t>
            </a:r>
          </a:p>
        </p:txBody>
      </p:sp>
    </p:spTree>
    <p:extLst>
      <p:ext uri="{BB962C8B-B14F-4D97-AF65-F5344CB8AC3E}">
        <p14:creationId xmlns:p14="http://schemas.microsoft.com/office/powerpoint/2010/main" val="1536786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897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5" name="Object 3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10933350" cy="509541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7" name="bg object 19"/>
          <p:cNvSpPr/>
          <p:nvPr userDrawn="1"/>
        </p:nvSpPr>
        <p:spPr>
          <a:xfrm>
            <a:off x="628650" y="701040"/>
            <a:ext cx="10953752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8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39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40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5417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D185F9-ACC4-4ECC-B130-7B16B3C4764B}"/>
              </a:ext>
            </a:extLst>
          </p:cNvPr>
          <p:cNvSpPr/>
          <p:nvPr/>
        </p:nvSpPr>
        <p:spPr>
          <a:xfrm>
            <a:off x="0" y="6577582"/>
            <a:ext cx="12192000" cy="280417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BC4B5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4FF8E35B-3231-4F45-B01A-CF32805B9875}"/>
              </a:ext>
            </a:extLst>
          </p:cNvPr>
          <p:cNvSpPr>
            <a:spLocks noChangeAspect="1"/>
          </p:cNvSpPr>
          <p:nvPr/>
        </p:nvSpPr>
        <p:spPr>
          <a:xfrm>
            <a:off x="5343638" y="6296295"/>
            <a:ext cx="1518657" cy="548640"/>
          </a:xfrm>
          <a:prstGeom prst="diamond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A192EC-7358-4417-B8B5-A2EE672387C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9214" y="6384032"/>
            <a:ext cx="1059503" cy="36557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48EA302-157D-434D-B880-B29B5CC66066}"/>
              </a:ext>
            </a:extLst>
          </p:cNvPr>
          <p:cNvSpPr/>
          <p:nvPr/>
        </p:nvSpPr>
        <p:spPr bwMode="white">
          <a:xfrm>
            <a:off x="0" y="6385322"/>
            <a:ext cx="12192000" cy="472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C01AE467-E9ED-409C-AA8B-1C2E9BCFA1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29D5CE03-678D-4288-B7FF-4A2A3F6EF5A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87075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August 2019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9EF58070-D9CB-4DB3-9CA8-428FF4C6A5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844E1C-37CC-4BB0-85F6-6A8BDCFD6488}"/>
              </a:ext>
            </a:extLst>
          </p:cNvPr>
          <p:cNvSpPr/>
          <p:nvPr userDrawn="1"/>
        </p:nvSpPr>
        <p:spPr>
          <a:xfrm>
            <a:off x="0" y="6577582"/>
            <a:ext cx="12192000" cy="280417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BC4B5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E31D21-1F74-4859-91AB-060F38F56A41}"/>
              </a:ext>
            </a:extLst>
          </p:cNvPr>
          <p:cNvSpPr/>
          <p:nvPr userDrawn="1"/>
        </p:nvSpPr>
        <p:spPr bwMode="white">
          <a:xfrm>
            <a:off x="0" y="6385322"/>
            <a:ext cx="12192000" cy="472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323455"/>
      </p:ext>
    </p:extLst>
  </p:cSld>
  <p:clrMapOvr>
    <a:masterClrMapping/>
  </p:clrMapOvr>
  <p:hf hdr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0767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bg object 19"/>
          <p:cNvSpPr/>
          <p:nvPr userDrawn="1"/>
        </p:nvSpPr>
        <p:spPr>
          <a:xfrm>
            <a:off x="628650" y="701040"/>
            <a:ext cx="10953752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9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0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603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7790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5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6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9760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8312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617A9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04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670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617A9F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7131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836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9607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2285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6276529" cy="509541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5457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9286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8101584" cy="509541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8386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278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8323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1299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2718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7456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02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D185F9-ACC4-4ECC-B130-7B16B3C4764B}"/>
              </a:ext>
            </a:extLst>
          </p:cNvPr>
          <p:cNvSpPr/>
          <p:nvPr/>
        </p:nvSpPr>
        <p:spPr>
          <a:xfrm>
            <a:off x="0" y="6577582"/>
            <a:ext cx="12192000" cy="280417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BC4B5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4FF8E35B-3231-4F45-B01A-CF32805B9875}"/>
              </a:ext>
            </a:extLst>
          </p:cNvPr>
          <p:cNvSpPr>
            <a:spLocks noChangeAspect="1"/>
          </p:cNvSpPr>
          <p:nvPr/>
        </p:nvSpPr>
        <p:spPr>
          <a:xfrm>
            <a:off x="5343638" y="6296295"/>
            <a:ext cx="1518657" cy="548640"/>
          </a:xfrm>
          <a:prstGeom prst="diamond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A192EC-7358-4417-B8B5-A2EE672387C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9214" y="6384032"/>
            <a:ext cx="1059503" cy="36557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48EA302-157D-434D-B880-B29B5CC66066}"/>
              </a:ext>
            </a:extLst>
          </p:cNvPr>
          <p:cNvSpPr/>
          <p:nvPr/>
        </p:nvSpPr>
        <p:spPr bwMode="white">
          <a:xfrm>
            <a:off x="0" y="6385322"/>
            <a:ext cx="12192000" cy="472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FA4DE47-3264-A348-B9BD-3E9F5A67FF0F}"/>
              </a:ext>
            </a:extLst>
          </p:cNvPr>
          <p:cNvSpPr txBox="1"/>
          <p:nvPr userDrawn="1"/>
        </p:nvSpPr>
        <p:spPr>
          <a:xfrm>
            <a:off x="2415178" y="3262812"/>
            <a:ext cx="7361647" cy="2194560"/>
          </a:xfrm>
          <a:prstGeom prst="rect">
            <a:avLst/>
          </a:prstGeom>
          <a:noFill/>
        </p:spPr>
        <p:txBody>
          <a:bodyPr wrap="square" lIns="60960" rIns="60960" rtlCol="0">
            <a:noAutofit/>
          </a:bodyPr>
          <a:lstStyle/>
          <a:p>
            <a:pPr algn="ctr"/>
            <a:r>
              <a:rPr lang="en-US" sz="8000" b="1" cap="small" baseline="0" dirty="0">
                <a:solidFill>
                  <a:schemeClr val="tx2"/>
                </a:solidFill>
                <a:latin typeface="+mj-lt"/>
              </a:rPr>
              <a:t>Thank You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6EADF4A-EB5E-5746-9755-4AF385BFE39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4198"/>
            <a:ext cx="12192000" cy="140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996781"/>
      </p:ext>
    </p:extLst>
  </p:cSld>
  <p:clrMapOvr>
    <a:masterClrMapping/>
  </p:clrMapOvr>
  <p:hf hdr="0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68882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6721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733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0120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450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709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753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1365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6612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4747822" cy="509541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0527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3922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4747822" cy="509541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715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1250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6254496" cy="509541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5180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68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6254496" cy="509541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9652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0142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023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084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617A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451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826A1DA-A7AC-AE47-834B-9054A50A18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975" y="0"/>
            <a:ext cx="7418184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6D57D470-3A18-8649-9DE3-22A1138F668E}"/>
              </a:ext>
            </a:extLst>
          </p:cNvPr>
          <p:cNvGrpSpPr/>
          <p:nvPr userDrawn="1"/>
        </p:nvGrpSpPr>
        <p:grpSpPr>
          <a:xfrm>
            <a:off x="1228728" y="2513269"/>
            <a:ext cx="10963272" cy="2542936"/>
            <a:chOff x="921546" y="1884952"/>
            <a:chExt cx="8222454" cy="190720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CA09DB0-24DD-D34B-A2C6-74467EA9DCA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045267" y="1884952"/>
              <a:ext cx="4098733" cy="1907202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C50F360-6753-DB44-85C0-2988B82879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1546" y="1884952"/>
              <a:ext cx="2348800" cy="19072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290203"/>
      </p:ext>
    </p:extLst>
  </p:cSld>
  <p:clrMapOvr>
    <a:masterClrMapping/>
  </p:clrMapOvr>
  <p:hf hdr="0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2A35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1375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42536C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1037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2300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10933200" cy="509541"/>
          </a:xfrm>
        </p:spPr>
        <p:txBody>
          <a:bodyPr vert="horz"/>
          <a:lstStyle>
            <a:lvl1pPr>
              <a:defRPr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7968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016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31038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 cap="small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168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1224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5154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4171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1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2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6076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5098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5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4464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726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object 3"/>
          <p:cNvGrpSpPr/>
          <p:nvPr userDrawn="1"/>
        </p:nvGrpSpPr>
        <p:grpSpPr>
          <a:xfrm>
            <a:off x="6096" y="4063"/>
            <a:ext cx="12180147" cy="1524000"/>
            <a:chOff x="4572" y="3047"/>
            <a:chExt cx="9135110" cy="1143000"/>
          </a:xfrm>
        </p:grpSpPr>
        <p:sp>
          <p:nvSpPr>
            <p:cNvPr id="11" name="object 4"/>
            <p:cNvSpPr/>
            <p:nvPr/>
          </p:nvSpPr>
          <p:spPr>
            <a:xfrm>
              <a:off x="4543043" y="3047"/>
              <a:ext cx="4596765" cy="1143000"/>
            </a:xfrm>
            <a:custGeom>
              <a:avLst/>
              <a:gdLst/>
              <a:ahLst/>
              <a:cxnLst/>
              <a:rect l="l" t="t" r="r" b="b"/>
              <a:pathLst>
                <a:path w="4596765" h="1143000">
                  <a:moveTo>
                    <a:pt x="4596384" y="0"/>
                  </a:moveTo>
                  <a:lnTo>
                    <a:pt x="0" y="0"/>
                  </a:lnTo>
                  <a:lnTo>
                    <a:pt x="0" y="1143000"/>
                  </a:lnTo>
                  <a:lnTo>
                    <a:pt x="4596384" y="1143000"/>
                  </a:lnTo>
                  <a:lnTo>
                    <a:pt x="4596384" y="0"/>
                  </a:lnTo>
                  <a:close/>
                </a:path>
              </a:pathLst>
            </a:custGeom>
            <a:solidFill>
              <a:srgbClr val="42536C"/>
            </a:solidFill>
          </p:spPr>
          <p:txBody>
            <a:bodyPr wrap="square" lIns="0" tIns="0" rIns="0" bIns="0" rtlCol="0"/>
            <a:lstStyle/>
            <a:p>
              <a:endParaRPr sz="320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pic>
          <p:nvPicPr>
            <p:cNvPr id="12" name="object 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572" y="3048"/>
              <a:ext cx="4540676" cy="1142744"/>
            </a:xfrm>
            <a:prstGeom prst="rect">
              <a:avLst/>
            </a:prstGeom>
          </p:spPr>
        </p:pic>
        <p:pic>
          <p:nvPicPr>
            <p:cNvPr id="13" name="object 6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643883" y="272796"/>
              <a:ext cx="1790699" cy="589787"/>
            </a:xfrm>
            <a:prstGeom prst="rect">
              <a:avLst/>
            </a:prstGeom>
          </p:spPr>
        </p:pic>
      </p:grpSp>
      <p:sp>
        <p:nvSpPr>
          <p:cNvPr id="14" name="bg object 18"/>
          <p:cNvSpPr/>
          <p:nvPr userDrawn="1"/>
        </p:nvSpPr>
        <p:spPr>
          <a:xfrm>
            <a:off x="6096" y="6289056"/>
            <a:ext cx="12180147" cy="565573"/>
          </a:xfrm>
          <a:custGeom>
            <a:avLst/>
            <a:gdLst/>
            <a:ahLst/>
            <a:cxnLst/>
            <a:rect l="l" t="t" r="r" b="b"/>
            <a:pathLst>
              <a:path w="9135110" h="424179">
                <a:moveTo>
                  <a:pt x="9134856" y="0"/>
                </a:moveTo>
                <a:lnTo>
                  <a:pt x="0" y="0"/>
                </a:lnTo>
                <a:lnTo>
                  <a:pt x="0" y="423659"/>
                </a:lnTo>
                <a:lnTo>
                  <a:pt x="9134856" y="423659"/>
                </a:lnTo>
                <a:lnTo>
                  <a:pt x="9134856" y="0"/>
                </a:lnTo>
                <a:close/>
              </a:path>
            </a:pathLst>
          </a:custGeom>
          <a:solidFill>
            <a:srgbClr val="42536C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336963" y="2875002"/>
            <a:ext cx="9518073" cy="110799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6600" b="1" dirty="0">
                <a:solidFill>
                  <a:srgbClr val="40404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hank</a:t>
            </a:r>
            <a:r>
              <a:rPr lang="en-US" sz="6600" b="1" baseline="0" dirty="0">
                <a:solidFill>
                  <a:srgbClr val="40404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you</a:t>
            </a:r>
            <a:endParaRPr lang="en-US" sz="6600" b="1" dirty="0">
              <a:solidFill>
                <a:srgbClr val="40404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60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1617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2" name="TextBox 5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23472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31071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51965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225687" y="1115416"/>
            <a:ext cx="225670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1" cap="small" baseline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929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0906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587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Logo and Content-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8DDD490-70AE-CB45-BDC2-4E647F7850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19677"/>
            <a:ext cx="12192000" cy="541867"/>
          </a:xfrm>
          <a:prstGeom prst="rect">
            <a:avLst/>
          </a:prstGeom>
        </p:spPr>
      </p:pic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CB978F2-E9DC-43A6-A84F-48F54FD554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1869" y="1101676"/>
            <a:ext cx="11106151" cy="4475480"/>
          </a:xfrm>
          <a:prstGeom prst="rect">
            <a:avLst/>
          </a:prstGeom>
        </p:spPr>
        <p:txBody>
          <a:bodyPr lIns="45720" rIns="45720">
            <a:noAutofit/>
          </a:bodyPr>
          <a:lstStyle>
            <a:lvl1pPr marL="304784" indent="-304784">
              <a:buClr>
                <a:srgbClr val="E80032"/>
              </a:buClr>
              <a:buFont typeface="Wingdings" panose="05000000000000000000" pitchFamily="2" charset="2"/>
              <a:buChar char="§"/>
              <a:defRPr sz="2133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-304784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1867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54" indent="-304784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1733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81DE34CD-E61D-4FA8-ACC1-67A1F24A3A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7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200" b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Date Placeholder 4">
            <a:extLst>
              <a:ext uri="{FF2B5EF4-FFF2-40B4-BE49-F238E27FC236}">
                <a16:creationId xmlns:a16="http://schemas.microsoft.com/office/drawing/2014/main" id="{C6C6C2DB-CFEA-471E-8F61-D8C09093D1B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87075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04B87FB-ADA9-46D4-8FB7-72CF7CAC9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297" y="508000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2667" cap="small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36F0C65-142E-584B-A870-2717100F2E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" y="0"/>
            <a:ext cx="6095999" cy="50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444CA31D-4F61-BD4E-BDC9-B68114FD18FB}"/>
              </a:ext>
            </a:extLst>
          </p:cNvPr>
          <p:cNvSpPr/>
          <p:nvPr userDrawn="1"/>
        </p:nvSpPr>
        <p:spPr>
          <a:xfrm>
            <a:off x="6094221" y="0"/>
            <a:ext cx="6097779" cy="508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 userDrawn="1"/>
        </p:nvCxnSpPr>
        <p:spPr>
          <a:xfrm>
            <a:off x="541865" y="1073551"/>
            <a:ext cx="11106912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99468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3141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00" b="1" cap="small" baseline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2517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095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 cap="small" baseline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sp>
        <p:nvSpPr>
          <p:cNvPr id="9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508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18742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617A9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617A9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519658"/>
          </a:xfrm>
          <a:prstGeom prst="rect">
            <a:avLst/>
          </a:prstGeom>
          <a:noFill/>
          <a:ln>
            <a:solidFill>
              <a:srgbClr val="617A9F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225686" y="1115416"/>
            <a:ext cx="225670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b="1" cap="small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sp>
        <p:nvSpPr>
          <p:cNvPr id="12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9543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19343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617A9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617A9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467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7494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 cap="small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617A9F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0722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61618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 cap="small" baseline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9966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3216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5844"/>
            <a:ext cx="31419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 cap="small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671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12B3D50-D18C-8B40-A401-F07FE82810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10968"/>
            <a:ext cx="12192000" cy="5418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04B87FB-ADA9-46D4-8FB7-72CF7CAC9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297" y="123735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2667" cap="small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81DE34CD-E61D-4FA8-ACC1-67A1F24A3A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200" b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2B22BB1-91BE-41E5-AFBB-E2ECEFA427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ow Restricted</a:t>
            </a:r>
          </a:p>
        </p:txBody>
      </p:sp>
      <p:sp>
        <p:nvSpPr>
          <p:cNvPr id="22" name="Date Placeholder 4">
            <a:extLst>
              <a:ext uri="{FF2B5EF4-FFF2-40B4-BE49-F238E27FC236}">
                <a16:creationId xmlns:a16="http://schemas.microsoft.com/office/drawing/2014/main" id="{C6C6C2DB-CFEA-471E-8F61-D8C09093D1B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87075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212454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">
    <p:bg>
      <p:bgPr>
        <a:solidFill>
          <a:srgbClr val="4153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Rock climber scaling a mountain">
            <a:extLst>
              <a:ext uri="{FF2B5EF4-FFF2-40B4-BE49-F238E27FC236}">
                <a16:creationId xmlns:a16="http://schemas.microsoft.com/office/drawing/2014/main" id="{BC91E44D-1E88-45EB-9920-D99012BFDD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84" y="-350404"/>
            <a:ext cx="12191999" cy="7047116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60822E8B-D951-41BB-A91B-E9E2F3AB6B0E}"/>
              </a:ext>
            </a:extLst>
          </p:cNvPr>
          <p:cNvSpPr/>
          <p:nvPr userDrawn="1"/>
        </p:nvSpPr>
        <p:spPr>
          <a:xfrm>
            <a:off x="3" y="6273800"/>
            <a:ext cx="12192000" cy="584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0F11CCA-DC02-4686-852C-CA7F0D91C072}"/>
              </a:ext>
            </a:extLst>
          </p:cNvPr>
          <p:cNvGrpSpPr/>
          <p:nvPr userDrawn="1"/>
        </p:nvGrpSpPr>
        <p:grpSpPr>
          <a:xfrm>
            <a:off x="10269562" y="376379"/>
            <a:ext cx="1550967" cy="227271"/>
            <a:chOff x="376814" y="6873876"/>
            <a:chExt cx="1925952" cy="282218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D79E3C4-6975-4AA1-8DE9-2D67E25C1684}"/>
                </a:ext>
              </a:extLst>
            </p:cNvPr>
            <p:cNvSpPr/>
            <p:nvPr/>
          </p:nvSpPr>
          <p:spPr>
            <a:xfrm>
              <a:off x="865739" y="6884555"/>
              <a:ext cx="129668" cy="198316"/>
            </a:xfrm>
            <a:custGeom>
              <a:avLst/>
              <a:gdLst>
                <a:gd name="connsiteX0" fmla="*/ 131956 w 129668"/>
                <a:gd name="connsiteY0" fmla="*/ 205181 h 198315"/>
                <a:gd name="connsiteX1" fmla="*/ 64834 w 129668"/>
                <a:gd name="connsiteY1" fmla="*/ 125854 h 198315"/>
                <a:gd name="connsiteX2" fmla="*/ 125091 w 129668"/>
                <a:gd name="connsiteY2" fmla="*/ 58732 h 198315"/>
                <a:gd name="connsiteX3" fmla="*/ 86954 w 129668"/>
                <a:gd name="connsiteY3" fmla="*/ 58732 h 198315"/>
                <a:gd name="connsiteX4" fmla="*/ 33561 w 129668"/>
                <a:gd name="connsiteY4" fmla="*/ 118989 h 198315"/>
                <a:gd name="connsiteX5" fmla="*/ 32798 w 129668"/>
                <a:gd name="connsiteY5" fmla="*/ 118989 h 198315"/>
                <a:gd name="connsiteX6" fmla="*/ 32798 w 129668"/>
                <a:gd name="connsiteY6" fmla="*/ 0 h 198315"/>
                <a:gd name="connsiteX7" fmla="*/ 0 w 129668"/>
                <a:gd name="connsiteY7" fmla="*/ 0 h 198315"/>
                <a:gd name="connsiteX8" fmla="*/ 0 w 129668"/>
                <a:gd name="connsiteY8" fmla="*/ 205181 h 198315"/>
                <a:gd name="connsiteX9" fmla="*/ 32798 w 129668"/>
                <a:gd name="connsiteY9" fmla="*/ 205181 h 198315"/>
                <a:gd name="connsiteX10" fmla="*/ 32798 w 129668"/>
                <a:gd name="connsiteY10" fmla="*/ 134245 h 198315"/>
                <a:gd name="connsiteX11" fmla="*/ 33561 w 129668"/>
                <a:gd name="connsiteY11" fmla="*/ 134245 h 198315"/>
                <a:gd name="connsiteX12" fmla="*/ 90768 w 129668"/>
                <a:gd name="connsiteY12" fmla="*/ 205181 h 198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9668" h="198315">
                  <a:moveTo>
                    <a:pt x="131956" y="205181"/>
                  </a:moveTo>
                  <a:lnTo>
                    <a:pt x="64834" y="125854"/>
                  </a:lnTo>
                  <a:lnTo>
                    <a:pt x="125091" y="58732"/>
                  </a:lnTo>
                  <a:lnTo>
                    <a:pt x="86954" y="58732"/>
                  </a:lnTo>
                  <a:lnTo>
                    <a:pt x="33561" y="118989"/>
                  </a:lnTo>
                  <a:lnTo>
                    <a:pt x="32798" y="118989"/>
                  </a:lnTo>
                  <a:lnTo>
                    <a:pt x="32798" y="0"/>
                  </a:lnTo>
                  <a:lnTo>
                    <a:pt x="0" y="0"/>
                  </a:lnTo>
                  <a:lnTo>
                    <a:pt x="0" y="205181"/>
                  </a:lnTo>
                  <a:lnTo>
                    <a:pt x="32798" y="205181"/>
                  </a:lnTo>
                  <a:lnTo>
                    <a:pt x="32798" y="134245"/>
                  </a:lnTo>
                  <a:lnTo>
                    <a:pt x="33561" y="134245"/>
                  </a:lnTo>
                  <a:lnTo>
                    <a:pt x="90768" y="205181"/>
                  </a:lnTo>
                  <a:close/>
                </a:path>
              </a:pathLst>
            </a:custGeom>
            <a:solidFill>
              <a:schemeClr val="bg2"/>
            </a:solidFill>
            <a:ln w="76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400" dirty="0"/>
            </a:p>
          </p:txBody>
        </p:sp>
        <p:grpSp>
          <p:nvGrpSpPr>
            <p:cNvPr id="12" name="Graphic 7">
              <a:extLst>
                <a:ext uri="{FF2B5EF4-FFF2-40B4-BE49-F238E27FC236}">
                  <a16:creationId xmlns:a16="http://schemas.microsoft.com/office/drawing/2014/main" id="{2E8F0EE4-EE2F-447B-BB04-3BC8EAB9C7BD}"/>
                </a:ext>
              </a:extLst>
            </p:cNvPr>
            <p:cNvGrpSpPr/>
            <p:nvPr/>
          </p:nvGrpSpPr>
          <p:grpSpPr>
            <a:xfrm>
              <a:off x="376814" y="6873876"/>
              <a:ext cx="1845862" cy="282218"/>
              <a:chOff x="376814" y="6873876"/>
              <a:chExt cx="1845862" cy="282218"/>
            </a:xfrm>
            <a:solidFill>
              <a:schemeClr val="accent1"/>
            </a:soli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FA497B15-63F6-48FA-86B3-D0AA84D25B4B}"/>
                  </a:ext>
                </a:extLst>
              </p:cNvPr>
              <p:cNvSpPr/>
              <p:nvPr/>
            </p:nvSpPr>
            <p:spPr>
              <a:xfrm>
                <a:off x="707849" y="6938710"/>
                <a:ext cx="137296" cy="152551"/>
              </a:xfrm>
              <a:custGeom>
                <a:avLst/>
                <a:gdLst>
                  <a:gd name="connsiteX0" fmla="*/ 70173 w 137295"/>
                  <a:gd name="connsiteY0" fmla="*/ 131193 h 152550"/>
                  <a:gd name="connsiteX1" fmla="*/ 43477 w 137295"/>
                  <a:gd name="connsiteY1" fmla="*/ 119752 h 152550"/>
                  <a:gd name="connsiteX2" fmla="*/ 32036 w 137295"/>
                  <a:gd name="connsiteY2" fmla="*/ 84665 h 152550"/>
                  <a:gd name="connsiteX3" fmla="*/ 139584 w 137295"/>
                  <a:gd name="connsiteY3" fmla="*/ 84665 h 152550"/>
                  <a:gd name="connsiteX4" fmla="*/ 135770 w 137295"/>
                  <a:gd name="connsiteY4" fmla="*/ 50342 h 152550"/>
                  <a:gd name="connsiteX5" fmla="*/ 112125 w 137295"/>
                  <a:gd name="connsiteY5" fmla="*/ 13730 h 152550"/>
                  <a:gd name="connsiteX6" fmla="*/ 70173 w 137295"/>
                  <a:gd name="connsiteY6" fmla="*/ 0 h 152550"/>
                  <a:gd name="connsiteX7" fmla="*/ 32798 w 137295"/>
                  <a:gd name="connsiteY7" fmla="*/ 9916 h 152550"/>
                  <a:gd name="connsiteX8" fmla="*/ 8390 w 137295"/>
                  <a:gd name="connsiteY8" fmla="*/ 37375 h 152550"/>
                  <a:gd name="connsiteX9" fmla="*/ 0 w 137295"/>
                  <a:gd name="connsiteY9" fmla="*/ 76275 h 152550"/>
                  <a:gd name="connsiteX10" fmla="*/ 8390 w 137295"/>
                  <a:gd name="connsiteY10" fmla="*/ 117464 h 152550"/>
                  <a:gd name="connsiteX11" fmla="*/ 32798 w 137295"/>
                  <a:gd name="connsiteY11" fmla="*/ 144923 h 152550"/>
                  <a:gd name="connsiteX12" fmla="*/ 70936 w 137295"/>
                  <a:gd name="connsiteY12" fmla="*/ 154839 h 152550"/>
                  <a:gd name="connsiteX13" fmla="*/ 115938 w 137295"/>
                  <a:gd name="connsiteY13" fmla="*/ 141109 h 152550"/>
                  <a:gd name="connsiteX14" fmla="*/ 138058 w 137295"/>
                  <a:gd name="connsiteY14" fmla="*/ 106785 h 152550"/>
                  <a:gd name="connsiteX15" fmla="*/ 104497 w 137295"/>
                  <a:gd name="connsiteY15" fmla="*/ 106785 h 152550"/>
                  <a:gd name="connsiteX16" fmla="*/ 93056 w 137295"/>
                  <a:gd name="connsiteY16" fmla="*/ 124329 h 152550"/>
                  <a:gd name="connsiteX17" fmla="*/ 70173 w 137295"/>
                  <a:gd name="connsiteY17" fmla="*/ 131193 h 152550"/>
                  <a:gd name="connsiteX18" fmla="*/ 69411 w 137295"/>
                  <a:gd name="connsiteY18" fmla="*/ 24408 h 152550"/>
                  <a:gd name="connsiteX19" fmla="*/ 94581 w 137295"/>
                  <a:gd name="connsiteY19" fmla="*/ 34324 h 152550"/>
                  <a:gd name="connsiteX20" fmla="*/ 106023 w 137295"/>
                  <a:gd name="connsiteY20" fmla="*/ 62546 h 152550"/>
                  <a:gd name="connsiteX21" fmla="*/ 32036 w 137295"/>
                  <a:gd name="connsiteY21" fmla="*/ 62546 h 152550"/>
                  <a:gd name="connsiteX22" fmla="*/ 44240 w 137295"/>
                  <a:gd name="connsiteY22" fmla="*/ 34324 h 152550"/>
                  <a:gd name="connsiteX23" fmla="*/ 69411 w 137295"/>
                  <a:gd name="connsiteY23" fmla="*/ 24408 h 15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7295" h="152550">
                    <a:moveTo>
                      <a:pt x="70173" y="131193"/>
                    </a:moveTo>
                    <a:cubicBezTo>
                      <a:pt x="59495" y="131193"/>
                      <a:pt x="50342" y="127380"/>
                      <a:pt x="43477" y="119752"/>
                    </a:cubicBezTo>
                    <a:cubicBezTo>
                      <a:pt x="36612" y="112125"/>
                      <a:pt x="32798" y="100683"/>
                      <a:pt x="32036" y="84665"/>
                    </a:cubicBezTo>
                    <a:lnTo>
                      <a:pt x="139584" y="84665"/>
                    </a:lnTo>
                    <a:cubicBezTo>
                      <a:pt x="139584" y="70173"/>
                      <a:pt x="138058" y="58732"/>
                      <a:pt x="135770" y="50342"/>
                    </a:cubicBezTo>
                    <a:cubicBezTo>
                      <a:pt x="131956" y="35087"/>
                      <a:pt x="123566" y="22883"/>
                      <a:pt x="112125" y="13730"/>
                    </a:cubicBezTo>
                    <a:cubicBezTo>
                      <a:pt x="100683" y="4577"/>
                      <a:pt x="86191" y="0"/>
                      <a:pt x="70173" y="0"/>
                    </a:cubicBezTo>
                    <a:cubicBezTo>
                      <a:pt x="55681" y="0"/>
                      <a:pt x="43477" y="3051"/>
                      <a:pt x="32798" y="9916"/>
                    </a:cubicBezTo>
                    <a:cubicBezTo>
                      <a:pt x="22120" y="16781"/>
                      <a:pt x="13730" y="25171"/>
                      <a:pt x="8390" y="37375"/>
                    </a:cubicBezTo>
                    <a:cubicBezTo>
                      <a:pt x="3051" y="48816"/>
                      <a:pt x="0" y="61783"/>
                      <a:pt x="0" y="76275"/>
                    </a:cubicBezTo>
                    <a:cubicBezTo>
                      <a:pt x="0" y="92293"/>
                      <a:pt x="3051" y="106023"/>
                      <a:pt x="8390" y="117464"/>
                    </a:cubicBezTo>
                    <a:cubicBezTo>
                      <a:pt x="13730" y="129668"/>
                      <a:pt x="22120" y="138821"/>
                      <a:pt x="32798" y="144923"/>
                    </a:cubicBezTo>
                    <a:cubicBezTo>
                      <a:pt x="43477" y="151025"/>
                      <a:pt x="56444" y="154839"/>
                      <a:pt x="70936" y="154839"/>
                    </a:cubicBezTo>
                    <a:cubicBezTo>
                      <a:pt x="89242" y="154839"/>
                      <a:pt x="104497" y="150262"/>
                      <a:pt x="115938" y="141109"/>
                    </a:cubicBezTo>
                    <a:cubicBezTo>
                      <a:pt x="128143" y="131956"/>
                      <a:pt x="135007" y="120515"/>
                      <a:pt x="138058" y="106785"/>
                    </a:cubicBezTo>
                    <a:lnTo>
                      <a:pt x="104497" y="106785"/>
                    </a:lnTo>
                    <a:cubicBezTo>
                      <a:pt x="102972" y="114413"/>
                      <a:pt x="99158" y="119752"/>
                      <a:pt x="93056" y="124329"/>
                    </a:cubicBezTo>
                    <a:cubicBezTo>
                      <a:pt x="86954" y="128905"/>
                      <a:pt x="79326" y="131193"/>
                      <a:pt x="70173" y="131193"/>
                    </a:cubicBezTo>
                    <a:moveTo>
                      <a:pt x="69411" y="24408"/>
                    </a:moveTo>
                    <a:cubicBezTo>
                      <a:pt x="79326" y="24408"/>
                      <a:pt x="87717" y="27459"/>
                      <a:pt x="94581" y="34324"/>
                    </a:cubicBezTo>
                    <a:cubicBezTo>
                      <a:pt x="101446" y="41189"/>
                      <a:pt x="105260" y="50342"/>
                      <a:pt x="106023" y="62546"/>
                    </a:cubicBezTo>
                    <a:lnTo>
                      <a:pt x="32036" y="62546"/>
                    </a:lnTo>
                    <a:cubicBezTo>
                      <a:pt x="33561" y="50342"/>
                      <a:pt x="37375" y="40426"/>
                      <a:pt x="44240" y="34324"/>
                    </a:cubicBezTo>
                    <a:cubicBezTo>
                      <a:pt x="50342" y="28222"/>
                      <a:pt x="58732" y="24408"/>
                      <a:pt x="69411" y="24408"/>
                    </a:cubicBezTo>
                  </a:path>
                </a:pathLst>
              </a:custGeom>
              <a:solidFill>
                <a:schemeClr val="bg2"/>
              </a:solidFill>
              <a:ln w="76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400" dirty="0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5B2A3A7A-C4B8-498A-B242-D9DCA76521D8}"/>
                  </a:ext>
                </a:extLst>
              </p:cNvPr>
              <p:cNvSpPr/>
              <p:nvPr/>
            </p:nvSpPr>
            <p:spPr>
              <a:xfrm>
                <a:off x="551485" y="6938710"/>
                <a:ext cx="137296" cy="152551"/>
              </a:xfrm>
              <a:custGeom>
                <a:avLst/>
                <a:gdLst>
                  <a:gd name="connsiteX0" fmla="*/ 70173 w 137295"/>
                  <a:gd name="connsiteY0" fmla="*/ 131193 h 152550"/>
                  <a:gd name="connsiteX1" fmla="*/ 43477 w 137295"/>
                  <a:gd name="connsiteY1" fmla="*/ 119752 h 152550"/>
                  <a:gd name="connsiteX2" fmla="*/ 32036 w 137295"/>
                  <a:gd name="connsiteY2" fmla="*/ 84665 h 152550"/>
                  <a:gd name="connsiteX3" fmla="*/ 139584 w 137295"/>
                  <a:gd name="connsiteY3" fmla="*/ 84665 h 152550"/>
                  <a:gd name="connsiteX4" fmla="*/ 135770 w 137295"/>
                  <a:gd name="connsiteY4" fmla="*/ 50342 h 152550"/>
                  <a:gd name="connsiteX5" fmla="*/ 112125 w 137295"/>
                  <a:gd name="connsiteY5" fmla="*/ 13730 h 152550"/>
                  <a:gd name="connsiteX6" fmla="*/ 70173 w 137295"/>
                  <a:gd name="connsiteY6" fmla="*/ 0 h 152550"/>
                  <a:gd name="connsiteX7" fmla="*/ 32798 w 137295"/>
                  <a:gd name="connsiteY7" fmla="*/ 9916 h 152550"/>
                  <a:gd name="connsiteX8" fmla="*/ 8390 w 137295"/>
                  <a:gd name="connsiteY8" fmla="*/ 37375 h 152550"/>
                  <a:gd name="connsiteX9" fmla="*/ 0 w 137295"/>
                  <a:gd name="connsiteY9" fmla="*/ 76275 h 152550"/>
                  <a:gd name="connsiteX10" fmla="*/ 8390 w 137295"/>
                  <a:gd name="connsiteY10" fmla="*/ 117464 h 152550"/>
                  <a:gd name="connsiteX11" fmla="*/ 32798 w 137295"/>
                  <a:gd name="connsiteY11" fmla="*/ 144923 h 152550"/>
                  <a:gd name="connsiteX12" fmla="*/ 70936 w 137295"/>
                  <a:gd name="connsiteY12" fmla="*/ 154839 h 152550"/>
                  <a:gd name="connsiteX13" fmla="*/ 115938 w 137295"/>
                  <a:gd name="connsiteY13" fmla="*/ 141109 h 152550"/>
                  <a:gd name="connsiteX14" fmla="*/ 138058 w 137295"/>
                  <a:gd name="connsiteY14" fmla="*/ 106785 h 152550"/>
                  <a:gd name="connsiteX15" fmla="*/ 104497 w 137295"/>
                  <a:gd name="connsiteY15" fmla="*/ 106785 h 152550"/>
                  <a:gd name="connsiteX16" fmla="*/ 93056 w 137295"/>
                  <a:gd name="connsiteY16" fmla="*/ 124329 h 152550"/>
                  <a:gd name="connsiteX17" fmla="*/ 70173 w 137295"/>
                  <a:gd name="connsiteY17" fmla="*/ 131193 h 152550"/>
                  <a:gd name="connsiteX18" fmla="*/ 69411 w 137295"/>
                  <a:gd name="connsiteY18" fmla="*/ 24408 h 152550"/>
                  <a:gd name="connsiteX19" fmla="*/ 94581 w 137295"/>
                  <a:gd name="connsiteY19" fmla="*/ 34324 h 152550"/>
                  <a:gd name="connsiteX20" fmla="*/ 106023 w 137295"/>
                  <a:gd name="connsiteY20" fmla="*/ 62546 h 152550"/>
                  <a:gd name="connsiteX21" fmla="*/ 32036 w 137295"/>
                  <a:gd name="connsiteY21" fmla="*/ 62546 h 152550"/>
                  <a:gd name="connsiteX22" fmla="*/ 44240 w 137295"/>
                  <a:gd name="connsiteY22" fmla="*/ 34324 h 152550"/>
                  <a:gd name="connsiteX23" fmla="*/ 69411 w 137295"/>
                  <a:gd name="connsiteY23" fmla="*/ 24408 h 15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7295" h="152550">
                    <a:moveTo>
                      <a:pt x="70173" y="131193"/>
                    </a:moveTo>
                    <a:cubicBezTo>
                      <a:pt x="59495" y="131193"/>
                      <a:pt x="50342" y="127380"/>
                      <a:pt x="43477" y="119752"/>
                    </a:cubicBezTo>
                    <a:cubicBezTo>
                      <a:pt x="36612" y="112125"/>
                      <a:pt x="32798" y="100683"/>
                      <a:pt x="32036" y="84665"/>
                    </a:cubicBezTo>
                    <a:lnTo>
                      <a:pt x="139584" y="84665"/>
                    </a:lnTo>
                    <a:cubicBezTo>
                      <a:pt x="139584" y="70173"/>
                      <a:pt x="138058" y="58732"/>
                      <a:pt x="135770" y="50342"/>
                    </a:cubicBezTo>
                    <a:cubicBezTo>
                      <a:pt x="131956" y="35087"/>
                      <a:pt x="123566" y="22883"/>
                      <a:pt x="112125" y="13730"/>
                    </a:cubicBezTo>
                    <a:cubicBezTo>
                      <a:pt x="100683" y="4577"/>
                      <a:pt x="86191" y="0"/>
                      <a:pt x="70173" y="0"/>
                    </a:cubicBezTo>
                    <a:cubicBezTo>
                      <a:pt x="55681" y="0"/>
                      <a:pt x="43477" y="3051"/>
                      <a:pt x="32798" y="9916"/>
                    </a:cubicBezTo>
                    <a:cubicBezTo>
                      <a:pt x="22120" y="16781"/>
                      <a:pt x="13730" y="25171"/>
                      <a:pt x="8390" y="37375"/>
                    </a:cubicBezTo>
                    <a:cubicBezTo>
                      <a:pt x="3051" y="48816"/>
                      <a:pt x="0" y="61783"/>
                      <a:pt x="0" y="76275"/>
                    </a:cubicBezTo>
                    <a:cubicBezTo>
                      <a:pt x="0" y="92293"/>
                      <a:pt x="3051" y="106023"/>
                      <a:pt x="8390" y="117464"/>
                    </a:cubicBezTo>
                    <a:cubicBezTo>
                      <a:pt x="13730" y="129668"/>
                      <a:pt x="22120" y="138821"/>
                      <a:pt x="32798" y="144923"/>
                    </a:cubicBezTo>
                    <a:cubicBezTo>
                      <a:pt x="43477" y="151788"/>
                      <a:pt x="56444" y="154839"/>
                      <a:pt x="70936" y="154839"/>
                    </a:cubicBezTo>
                    <a:cubicBezTo>
                      <a:pt x="89242" y="154839"/>
                      <a:pt x="104497" y="150262"/>
                      <a:pt x="115938" y="141109"/>
                    </a:cubicBezTo>
                    <a:cubicBezTo>
                      <a:pt x="128143" y="131956"/>
                      <a:pt x="135007" y="120515"/>
                      <a:pt x="138058" y="106785"/>
                    </a:cubicBezTo>
                    <a:lnTo>
                      <a:pt x="104497" y="106785"/>
                    </a:lnTo>
                    <a:cubicBezTo>
                      <a:pt x="102972" y="114413"/>
                      <a:pt x="99158" y="119752"/>
                      <a:pt x="93056" y="124329"/>
                    </a:cubicBezTo>
                    <a:cubicBezTo>
                      <a:pt x="86954" y="128905"/>
                      <a:pt x="79326" y="131193"/>
                      <a:pt x="70173" y="131193"/>
                    </a:cubicBezTo>
                    <a:moveTo>
                      <a:pt x="69411" y="24408"/>
                    </a:moveTo>
                    <a:cubicBezTo>
                      <a:pt x="79326" y="24408"/>
                      <a:pt x="87717" y="27459"/>
                      <a:pt x="94581" y="34324"/>
                    </a:cubicBezTo>
                    <a:cubicBezTo>
                      <a:pt x="101446" y="41189"/>
                      <a:pt x="105260" y="50342"/>
                      <a:pt x="106023" y="62546"/>
                    </a:cubicBezTo>
                    <a:lnTo>
                      <a:pt x="32036" y="62546"/>
                    </a:lnTo>
                    <a:cubicBezTo>
                      <a:pt x="33561" y="50342"/>
                      <a:pt x="37375" y="40426"/>
                      <a:pt x="44240" y="34324"/>
                    </a:cubicBezTo>
                    <a:cubicBezTo>
                      <a:pt x="51104" y="28222"/>
                      <a:pt x="59495" y="24408"/>
                      <a:pt x="69411" y="24408"/>
                    </a:cubicBezTo>
                  </a:path>
                </a:pathLst>
              </a:custGeom>
              <a:solidFill>
                <a:schemeClr val="bg2"/>
              </a:solidFill>
              <a:ln w="76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400" dirty="0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3B872AD2-65AB-401F-83A4-4A318C87C5CE}"/>
                  </a:ext>
                </a:extLst>
              </p:cNvPr>
              <p:cNvSpPr/>
              <p:nvPr/>
            </p:nvSpPr>
            <p:spPr>
              <a:xfrm>
                <a:off x="376814" y="6879978"/>
                <a:ext cx="152551" cy="213571"/>
              </a:xfrm>
              <a:custGeom>
                <a:avLst/>
                <a:gdLst>
                  <a:gd name="connsiteX0" fmla="*/ 75513 w 152550"/>
                  <a:gd name="connsiteY0" fmla="*/ 0 h 213570"/>
                  <a:gd name="connsiteX1" fmla="*/ 37375 w 152550"/>
                  <a:gd name="connsiteY1" fmla="*/ 7628 h 213570"/>
                  <a:gd name="connsiteX2" fmla="*/ 12204 w 152550"/>
                  <a:gd name="connsiteY2" fmla="*/ 28222 h 213570"/>
                  <a:gd name="connsiteX3" fmla="*/ 3051 w 152550"/>
                  <a:gd name="connsiteY3" fmla="*/ 58732 h 213570"/>
                  <a:gd name="connsiteX4" fmla="*/ 12204 w 152550"/>
                  <a:gd name="connsiteY4" fmla="*/ 90768 h 213570"/>
                  <a:gd name="connsiteX5" fmla="*/ 35849 w 152550"/>
                  <a:gd name="connsiteY5" fmla="*/ 109074 h 213570"/>
                  <a:gd name="connsiteX6" fmla="*/ 74750 w 152550"/>
                  <a:gd name="connsiteY6" fmla="*/ 121278 h 213570"/>
                  <a:gd name="connsiteX7" fmla="*/ 102209 w 152550"/>
                  <a:gd name="connsiteY7" fmla="*/ 129668 h 213570"/>
                  <a:gd name="connsiteX8" fmla="*/ 115938 w 152550"/>
                  <a:gd name="connsiteY8" fmla="*/ 138821 h 213570"/>
                  <a:gd name="connsiteX9" fmla="*/ 120515 w 152550"/>
                  <a:gd name="connsiteY9" fmla="*/ 154839 h 213570"/>
                  <a:gd name="connsiteX10" fmla="*/ 109836 w 152550"/>
                  <a:gd name="connsiteY10" fmla="*/ 177721 h 213570"/>
                  <a:gd name="connsiteX11" fmla="*/ 80089 w 152550"/>
                  <a:gd name="connsiteY11" fmla="*/ 186112 h 213570"/>
                  <a:gd name="connsiteX12" fmla="*/ 46528 w 152550"/>
                  <a:gd name="connsiteY12" fmla="*/ 175433 h 213570"/>
                  <a:gd name="connsiteX13" fmla="*/ 35087 w 152550"/>
                  <a:gd name="connsiteY13" fmla="*/ 142635 h 213570"/>
                  <a:gd name="connsiteX14" fmla="*/ 0 w 152550"/>
                  <a:gd name="connsiteY14" fmla="*/ 142635 h 213570"/>
                  <a:gd name="connsiteX15" fmla="*/ 21357 w 152550"/>
                  <a:gd name="connsiteY15" fmla="*/ 196027 h 213570"/>
                  <a:gd name="connsiteX16" fmla="*/ 80089 w 152550"/>
                  <a:gd name="connsiteY16" fmla="*/ 214333 h 213570"/>
                  <a:gd name="connsiteX17" fmla="*/ 120515 w 152550"/>
                  <a:gd name="connsiteY17" fmla="*/ 206706 h 213570"/>
                  <a:gd name="connsiteX18" fmla="*/ 147211 w 152550"/>
                  <a:gd name="connsiteY18" fmla="*/ 184586 h 213570"/>
                  <a:gd name="connsiteX19" fmla="*/ 156364 w 152550"/>
                  <a:gd name="connsiteY19" fmla="*/ 151788 h 213570"/>
                  <a:gd name="connsiteX20" fmla="*/ 147211 w 152550"/>
                  <a:gd name="connsiteY20" fmla="*/ 118989 h 213570"/>
                  <a:gd name="connsiteX21" fmla="*/ 123566 w 152550"/>
                  <a:gd name="connsiteY21" fmla="*/ 100683 h 213570"/>
                  <a:gd name="connsiteX22" fmla="*/ 85428 w 152550"/>
                  <a:gd name="connsiteY22" fmla="*/ 88479 h 213570"/>
                  <a:gd name="connsiteX23" fmla="*/ 57206 w 152550"/>
                  <a:gd name="connsiteY23" fmla="*/ 80089 h 213570"/>
                  <a:gd name="connsiteX24" fmla="*/ 42714 w 152550"/>
                  <a:gd name="connsiteY24" fmla="*/ 70936 h 213570"/>
                  <a:gd name="connsiteX25" fmla="*/ 38138 w 152550"/>
                  <a:gd name="connsiteY25" fmla="*/ 56444 h 213570"/>
                  <a:gd name="connsiteX26" fmla="*/ 48053 w 152550"/>
                  <a:gd name="connsiteY26" fmla="*/ 36612 h 213570"/>
                  <a:gd name="connsiteX27" fmla="*/ 74750 w 152550"/>
                  <a:gd name="connsiteY27" fmla="*/ 28985 h 213570"/>
                  <a:gd name="connsiteX28" fmla="*/ 105260 w 152550"/>
                  <a:gd name="connsiteY28" fmla="*/ 38900 h 213570"/>
                  <a:gd name="connsiteX29" fmla="*/ 115938 w 152550"/>
                  <a:gd name="connsiteY29" fmla="*/ 67885 h 213570"/>
                  <a:gd name="connsiteX30" fmla="*/ 151025 w 152550"/>
                  <a:gd name="connsiteY30" fmla="*/ 67885 h 213570"/>
                  <a:gd name="connsiteX31" fmla="*/ 131956 w 152550"/>
                  <a:gd name="connsiteY31" fmla="*/ 17543 h 213570"/>
                  <a:gd name="connsiteX32" fmla="*/ 75513 w 152550"/>
                  <a:gd name="connsiteY32" fmla="*/ 0 h 213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52550" h="213570">
                    <a:moveTo>
                      <a:pt x="75513" y="0"/>
                    </a:moveTo>
                    <a:cubicBezTo>
                      <a:pt x="61020" y="0"/>
                      <a:pt x="48816" y="2288"/>
                      <a:pt x="37375" y="7628"/>
                    </a:cubicBezTo>
                    <a:cubicBezTo>
                      <a:pt x="26696" y="12204"/>
                      <a:pt x="18306" y="19832"/>
                      <a:pt x="12204" y="28222"/>
                    </a:cubicBezTo>
                    <a:cubicBezTo>
                      <a:pt x="6102" y="37375"/>
                      <a:pt x="3051" y="47291"/>
                      <a:pt x="3051" y="58732"/>
                    </a:cubicBezTo>
                    <a:cubicBezTo>
                      <a:pt x="3051" y="72462"/>
                      <a:pt x="6102" y="83140"/>
                      <a:pt x="12204" y="90768"/>
                    </a:cubicBezTo>
                    <a:cubicBezTo>
                      <a:pt x="18306" y="98395"/>
                      <a:pt x="25934" y="104497"/>
                      <a:pt x="35849" y="109074"/>
                    </a:cubicBezTo>
                    <a:cubicBezTo>
                      <a:pt x="45765" y="112887"/>
                      <a:pt x="58732" y="117464"/>
                      <a:pt x="74750" y="121278"/>
                    </a:cubicBezTo>
                    <a:cubicBezTo>
                      <a:pt x="86954" y="124329"/>
                      <a:pt x="96107" y="127380"/>
                      <a:pt x="102209" y="129668"/>
                    </a:cubicBezTo>
                    <a:cubicBezTo>
                      <a:pt x="108311" y="131956"/>
                      <a:pt x="112887" y="135007"/>
                      <a:pt x="115938" y="138821"/>
                    </a:cubicBezTo>
                    <a:cubicBezTo>
                      <a:pt x="118989" y="142635"/>
                      <a:pt x="120515" y="147974"/>
                      <a:pt x="120515" y="154839"/>
                    </a:cubicBezTo>
                    <a:cubicBezTo>
                      <a:pt x="120515" y="164755"/>
                      <a:pt x="116701" y="172382"/>
                      <a:pt x="109836" y="177721"/>
                    </a:cubicBezTo>
                    <a:cubicBezTo>
                      <a:pt x="102972" y="183061"/>
                      <a:pt x="93056" y="186112"/>
                      <a:pt x="80089" y="186112"/>
                    </a:cubicBezTo>
                    <a:cubicBezTo>
                      <a:pt x="65597" y="186112"/>
                      <a:pt x="54918" y="182298"/>
                      <a:pt x="46528" y="175433"/>
                    </a:cubicBezTo>
                    <a:cubicBezTo>
                      <a:pt x="38900" y="167806"/>
                      <a:pt x="35087" y="157127"/>
                      <a:pt x="35087" y="142635"/>
                    </a:cubicBezTo>
                    <a:lnTo>
                      <a:pt x="0" y="142635"/>
                    </a:lnTo>
                    <a:cubicBezTo>
                      <a:pt x="0" y="166280"/>
                      <a:pt x="6865" y="183823"/>
                      <a:pt x="21357" y="196027"/>
                    </a:cubicBezTo>
                    <a:cubicBezTo>
                      <a:pt x="35849" y="208231"/>
                      <a:pt x="54918" y="214333"/>
                      <a:pt x="80089" y="214333"/>
                    </a:cubicBezTo>
                    <a:cubicBezTo>
                      <a:pt x="95344" y="214333"/>
                      <a:pt x="108311" y="212045"/>
                      <a:pt x="120515" y="206706"/>
                    </a:cubicBezTo>
                    <a:cubicBezTo>
                      <a:pt x="131956" y="201367"/>
                      <a:pt x="141109" y="194502"/>
                      <a:pt x="147211" y="184586"/>
                    </a:cubicBezTo>
                    <a:cubicBezTo>
                      <a:pt x="153313" y="175433"/>
                      <a:pt x="156364" y="163992"/>
                      <a:pt x="156364" y="151788"/>
                    </a:cubicBezTo>
                    <a:cubicBezTo>
                      <a:pt x="156364" y="138058"/>
                      <a:pt x="153313" y="127380"/>
                      <a:pt x="147211" y="118989"/>
                    </a:cubicBezTo>
                    <a:cubicBezTo>
                      <a:pt x="141109" y="110599"/>
                      <a:pt x="133482" y="104497"/>
                      <a:pt x="123566" y="100683"/>
                    </a:cubicBezTo>
                    <a:cubicBezTo>
                      <a:pt x="113650" y="96870"/>
                      <a:pt x="101446" y="92293"/>
                      <a:pt x="85428" y="88479"/>
                    </a:cubicBezTo>
                    <a:cubicBezTo>
                      <a:pt x="73224" y="85428"/>
                      <a:pt x="64071" y="83140"/>
                      <a:pt x="57206" y="80089"/>
                    </a:cubicBezTo>
                    <a:cubicBezTo>
                      <a:pt x="51104" y="77801"/>
                      <a:pt x="45765" y="73987"/>
                      <a:pt x="42714" y="70936"/>
                    </a:cubicBezTo>
                    <a:cubicBezTo>
                      <a:pt x="39663" y="67122"/>
                      <a:pt x="38138" y="62546"/>
                      <a:pt x="38138" y="56444"/>
                    </a:cubicBezTo>
                    <a:cubicBezTo>
                      <a:pt x="38138" y="48053"/>
                      <a:pt x="41189" y="41189"/>
                      <a:pt x="48053" y="36612"/>
                    </a:cubicBezTo>
                    <a:cubicBezTo>
                      <a:pt x="54155" y="32036"/>
                      <a:pt x="63308" y="28985"/>
                      <a:pt x="74750" y="28985"/>
                    </a:cubicBezTo>
                    <a:cubicBezTo>
                      <a:pt x="87717" y="28985"/>
                      <a:pt x="98395" y="32036"/>
                      <a:pt x="105260" y="38900"/>
                    </a:cubicBezTo>
                    <a:cubicBezTo>
                      <a:pt x="112125" y="45765"/>
                      <a:pt x="115938" y="54918"/>
                      <a:pt x="115938" y="67885"/>
                    </a:cubicBezTo>
                    <a:lnTo>
                      <a:pt x="151025" y="67885"/>
                    </a:lnTo>
                    <a:cubicBezTo>
                      <a:pt x="151025" y="45765"/>
                      <a:pt x="144923" y="28985"/>
                      <a:pt x="131956" y="17543"/>
                    </a:cubicBezTo>
                    <a:cubicBezTo>
                      <a:pt x="118989" y="6102"/>
                      <a:pt x="99921" y="0"/>
                      <a:pt x="75513" y="0"/>
                    </a:cubicBezTo>
                  </a:path>
                </a:pathLst>
              </a:custGeom>
              <a:solidFill>
                <a:schemeClr val="bg2"/>
              </a:solidFill>
              <a:ln w="76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400" dirty="0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06021E16-F58C-4A9C-B8EF-8F685033E644}"/>
                  </a:ext>
                </a:extLst>
              </p:cNvPr>
              <p:cNvSpPr/>
              <p:nvPr/>
            </p:nvSpPr>
            <p:spPr>
              <a:xfrm>
                <a:off x="2107501" y="6945575"/>
                <a:ext cx="114413" cy="137295"/>
              </a:xfrm>
              <a:custGeom>
                <a:avLst/>
                <a:gdLst>
                  <a:gd name="connsiteX0" fmla="*/ 94581 w 114412"/>
                  <a:gd name="connsiteY0" fmla="*/ 144160 h 137295"/>
                  <a:gd name="connsiteX1" fmla="*/ 94581 w 114412"/>
                  <a:gd name="connsiteY1" fmla="*/ 140347 h 137295"/>
                  <a:gd name="connsiteX2" fmla="*/ 64834 w 114412"/>
                  <a:gd name="connsiteY2" fmla="*/ 123566 h 137295"/>
                  <a:gd name="connsiteX3" fmla="*/ 61783 w 114412"/>
                  <a:gd name="connsiteY3" fmla="*/ 121278 h 137295"/>
                  <a:gd name="connsiteX4" fmla="*/ 61020 w 114412"/>
                  <a:gd name="connsiteY4" fmla="*/ 117464 h 137295"/>
                  <a:gd name="connsiteX5" fmla="*/ 61020 w 114412"/>
                  <a:gd name="connsiteY5" fmla="*/ 50342 h 137295"/>
                  <a:gd name="connsiteX6" fmla="*/ 65597 w 114412"/>
                  <a:gd name="connsiteY6" fmla="*/ 39663 h 137295"/>
                  <a:gd name="connsiteX7" fmla="*/ 71699 w 114412"/>
                  <a:gd name="connsiteY7" fmla="*/ 31273 h 137295"/>
                  <a:gd name="connsiteX8" fmla="*/ 77038 w 114412"/>
                  <a:gd name="connsiteY8" fmla="*/ 28222 h 137295"/>
                  <a:gd name="connsiteX9" fmla="*/ 80852 w 114412"/>
                  <a:gd name="connsiteY9" fmla="*/ 30510 h 137295"/>
                  <a:gd name="connsiteX10" fmla="*/ 100683 w 114412"/>
                  <a:gd name="connsiteY10" fmla="*/ 52630 h 137295"/>
                  <a:gd name="connsiteX11" fmla="*/ 104497 w 114412"/>
                  <a:gd name="connsiteY11" fmla="*/ 52630 h 137295"/>
                  <a:gd name="connsiteX12" fmla="*/ 118227 w 114412"/>
                  <a:gd name="connsiteY12" fmla="*/ 8390 h 137295"/>
                  <a:gd name="connsiteX13" fmla="*/ 98395 w 114412"/>
                  <a:gd name="connsiteY13" fmla="*/ 0 h 137295"/>
                  <a:gd name="connsiteX14" fmla="*/ 58732 w 114412"/>
                  <a:gd name="connsiteY14" fmla="*/ 38138 h 137295"/>
                  <a:gd name="connsiteX15" fmla="*/ 58732 w 114412"/>
                  <a:gd name="connsiteY15" fmla="*/ 2288 h 137295"/>
                  <a:gd name="connsiteX16" fmla="*/ 763 w 114412"/>
                  <a:gd name="connsiteY16" fmla="*/ 2288 h 137295"/>
                  <a:gd name="connsiteX17" fmla="*/ 763 w 114412"/>
                  <a:gd name="connsiteY17" fmla="*/ 6102 h 137295"/>
                  <a:gd name="connsiteX18" fmla="*/ 18306 w 114412"/>
                  <a:gd name="connsiteY18" fmla="*/ 24408 h 137295"/>
                  <a:gd name="connsiteX19" fmla="*/ 19832 w 114412"/>
                  <a:gd name="connsiteY19" fmla="*/ 26696 h 137295"/>
                  <a:gd name="connsiteX20" fmla="*/ 19832 w 114412"/>
                  <a:gd name="connsiteY20" fmla="*/ 30510 h 137295"/>
                  <a:gd name="connsiteX21" fmla="*/ 19832 w 114412"/>
                  <a:gd name="connsiteY21" fmla="*/ 121278 h 137295"/>
                  <a:gd name="connsiteX22" fmla="*/ 19069 w 114412"/>
                  <a:gd name="connsiteY22" fmla="*/ 125091 h 137295"/>
                  <a:gd name="connsiteX23" fmla="*/ 16781 w 114412"/>
                  <a:gd name="connsiteY23" fmla="*/ 127380 h 137295"/>
                  <a:gd name="connsiteX24" fmla="*/ 0 w 114412"/>
                  <a:gd name="connsiteY24" fmla="*/ 140347 h 137295"/>
                  <a:gd name="connsiteX25" fmla="*/ 0 w 114412"/>
                  <a:gd name="connsiteY25" fmla="*/ 144160 h 137295"/>
                  <a:gd name="connsiteX26" fmla="*/ 94581 w 114412"/>
                  <a:gd name="connsiteY26" fmla="*/ 144160 h 137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14412" h="137295">
                    <a:moveTo>
                      <a:pt x="94581" y="144160"/>
                    </a:moveTo>
                    <a:lnTo>
                      <a:pt x="94581" y="140347"/>
                    </a:lnTo>
                    <a:lnTo>
                      <a:pt x="64834" y="123566"/>
                    </a:lnTo>
                    <a:cubicBezTo>
                      <a:pt x="63308" y="122803"/>
                      <a:pt x="62546" y="122040"/>
                      <a:pt x="61783" y="121278"/>
                    </a:cubicBezTo>
                    <a:cubicBezTo>
                      <a:pt x="61020" y="120515"/>
                      <a:pt x="61020" y="118989"/>
                      <a:pt x="61020" y="117464"/>
                    </a:cubicBezTo>
                    <a:lnTo>
                      <a:pt x="61020" y="50342"/>
                    </a:lnTo>
                    <a:cubicBezTo>
                      <a:pt x="62546" y="46528"/>
                      <a:pt x="64071" y="42714"/>
                      <a:pt x="65597" y="39663"/>
                    </a:cubicBezTo>
                    <a:cubicBezTo>
                      <a:pt x="67122" y="36612"/>
                      <a:pt x="69410" y="33561"/>
                      <a:pt x="71699" y="31273"/>
                    </a:cubicBezTo>
                    <a:cubicBezTo>
                      <a:pt x="73987" y="28985"/>
                      <a:pt x="75513" y="28222"/>
                      <a:pt x="77038" y="28222"/>
                    </a:cubicBezTo>
                    <a:cubicBezTo>
                      <a:pt x="77801" y="28222"/>
                      <a:pt x="79326" y="28985"/>
                      <a:pt x="80852" y="30510"/>
                    </a:cubicBezTo>
                    <a:lnTo>
                      <a:pt x="100683" y="52630"/>
                    </a:lnTo>
                    <a:lnTo>
                      <a:pt x="104497" y="52630"/>
                    </a:lnTo>
                    <a:lnTo>
                      <a:pt x="118227" y="8390"/>
                    </a:lnTo>
                    <a:cubicBezTo>
                      <a:pt x="112125" y="2288"/>
                      <a:pt x="106023" y="0"/>
                      <a:pt x="98395" y="0"/>
                    </a:cubicBezTo>
                    <a:cubicBezTo>
                      <a:pt x="80852" y="0"/>
                      <a:pt x="67885" y="12967"/>
                      <a:pt x="58732" y="38138"/>
                    </a:cubicBezTo>
                    <a:lnTo>
                      <a:pt x="58732" y="2288"/>
                    </a:lnTo>
                    <a:lnTo>
                      <a:pt x="763" y="2288"/>
                    </a:lnTo>
                    <a:lnTo>
                      <a:pt x="763" y="6102"/>
                    </a:lnTo>
                    <a:lnTo>
                      <a:pt x="18306" y="24408"/>
                    </a:lnTo>
                    <a:cubicBezTo>
                      <a:pt x="19069" y="25171"/>
                      <a:pt x="19832" y="25934"/>
                      <a:pt x="19832" y="26696"/>
                    </a:cubicBezTo>
                    <a:cubicBezTo>
                      <a:pt x="19832" y="27459"/>
                      <a:pt x="19832" y="28985"/>
                      <a:pt x="19832" y="30510"/>
                    </a:cubicBezTo>
                    <a:lnTo>
                      <a:pt x="19832" y="121278"/>
                    </a:lnTo>
                    <a:cubicBezTo>
                      <a:pt x="19832" y="122803"/>
                      <a:pt x="19832" y="124329"/>
                      <a:pt x="19069" y="125091"/>
                    </a:cubicBezTo>
                    <a:cubicBezTo>
                      <a:pt x="19069" y="125854"/>
                      <a:pt x="18306" y="126617"/>
                      <a:pt x="16781" y="127380"/>
                    </a:cubicBezTo>
                    <a:lnTo>
                      <a:pt x="0" y="140347"/>
                    </a:lnTo>
                    <a:lnTo>
                      <a:pt x="0" y="144160"/>
                    </a:lnTo>
                    <a:lnTo>
                      <a:pt x="94581" y="144160"/>
                    </a:lnTo>
                    <a:close/>
                  </a:path>
                </a:pathLst>
              </a:custGeom>
              <a:solidFill>
                <a:srgbClr val="E80033"/>
              </a:solidFill>
              <a:ln w="76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400" dirty="0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E298C0AD-3364-462B-995E-51F1E880CAF5}"/>
                  </a:ext>
                </a:extLst>
              </p:cNvPr>
              <p:cNvSpPr/>
              <p:nvPr/>
            </p:nvSpPr>
            <p:spPr>
              <a:xfrm>
                <a:off x="1966391" y="6944812"/>
                <a:ext cx="129668" cy="144923"/>
              </a:xfrm>
              <a:custGeom>
                <a:avLst/>
                <a:gdLst>
                  <a:gd name="connsiteX0" fmla="*/ 133482 w 129668"/>
                  <a:gd name="connsiteY0" fmla="*/ 73987 h 144922"/>
                  <a:gd name="connsiteX1" fmla="*/ 133482 w 129668"/>
                  <a:gd name="connsiteY1" fmla="*/ 64834 h 144922"/>
                  <a:gd name="connsiteX2" fmla="*/ 128905 w 129668"/>
                  <a:gd name="connsiteY2" fmla="*/ 35087 h 144922"/>
                  <a:gd name="connsiteX3" fmla="*/ 115176 w 129668"/>
                  <a:gd name="connsiteY3" fmla="*/ 15255 h 144922"/>
                  <a:gd name="connsiteX4" fmla="*/ 95344 w 129668"/>
                  <a:gd name="connsiteY4" fmla="*/ 3814 h 144922"/>
                  <a:gd name="connsiteX5" fmla="*/ 70173 w 129668"/>
                  <a:gd name="connsiteY5" fmla="*/ 0 h 144922"/>
                  <a:gd name="connsiteX6" fmla="*/ 42714 w 129668"/>
                  <a:gd name="connsiteY6" fmla="*/ 4577 h 144922"/>
                  <a:gd name="connsiteX7" fmla="*/ 20594 w 129668"/>
                  <a:gd name="connsiteY7" fmla="*/ 19069 h 144922"/>
                  <a:gd name="connsiteX8" fmla="*/ 5339 w 129668"/>
                  <a:gd name="connsiteY8" fmla="*/ 42714 h 144922"/>
                  <a:gd name="connsiteX9" fmla="*/ 0 w 129668"/>
                  <a:gd name="connsiteY9" fmla="*/ 76275 h 144922"/>
                  <a:gd name="connsiteX10" fmla="*/ 5339 w 129668"/>
                  <a:gd name="connsiteY10" fmla="*/ 108311 h 144922"/>
                  <a:gd name="connsiteX11" fmla="*/ 19832 w 129668"/>
                  <a:gd name="connsiteY11" fmla="*/ 131193 h 144922"/>
                  <a:gd name="connsiteX12" fmla="*/ 41951 w 129668"/>
                  <a:gd name="connsiteY12" fmla="*/ 144923 h 144922"/>
                  <a:gd name="connsiteX13" fmla="*/ 69410 w 129668"/>
                  <a:gd name="connsiteY13" fmla="*/ 149499 h 144922"/>
                  <a:gd name="connsiteX14" fmla="*/ 132719 w 129668"/>
                  <a:gd name="connsiteY14" fmla="*/ 106023 h 144922"/>
                  <a:gd name="connsiteX15" fmla="*/ 128905 w 129668"/>
                  <a:gd name="connsiteY15" fmla="*/ 103734 h 144922"/>
                  <a:gd name="connsiteX16" fmla="*/ 109074 w 129668"/>
                  <a:gd name="connsiteY16" fmla="*/ 118227 h 144922"/>
                  <a:gd name="connsiteX17" fmla="*/ 85428 w 129668"/>
                  <a:gd name="connsiteY17" fmla="*/ 122803 h 144922"/>
                  <a:gd name="connsiteX18" fmla="*/ 70173 w 129668"/>
                  <a:gd name="connsiteY18" fmla="*/ 120515 h 144922"/>
                  <a:gd name="connsiteX19" fmla="*/ 56444 w 129668"/>
                  <a:gd name="connsiteY19" fmla="*/ 112125 h 144922"/>
                  <a:gd name="connsiteX20" fmla="*/ 46528 w 129668"/>
                  <a:gd name="connsiteY20" fmla="*/ 96870 h 144922"/>
                  <a:gd name="connsiteX21" fmla="*/ 41951 w 129668"/>
                  <a:gd name="connsiteY21" fmla="*/ 73987 h 144922"/>
                  <a:gd name="connsiteX22" fmla="*/ 133482 w 129668"/>
                  <a:gd name="connsiteY22" fmla="*/ 73987 h 144922"/>
                  <a:gd name="connsiteX23" fmla="*/ 86954 w 129668"/>
                  <a:gd name="connsiteY23" fmla="*/ 24408 h 144922"/>
                  <a:gd name="connsiteX24" fmla="*/ 93056 w 129668"/>
                  <a:gd name="connsiteY24" fmla="*/ 61020 h 144922"/>
                  <a:gd name="connsiteX25" fmla="*/ 43477 w 129668"/>
                  <a:gd name="connsiteY25" fmla="*/ 61020 h 144922"/>
                  <a:gd name="connsiteX26" fmla="*/ 51104 w 129668"/>
                  <a:gd name="connsiteY26" fmla="*/ 24408 h 144922"/>
                  <a:gd name="connsiteX27" fmla="*/ 69410 w 129668"/>
                  <a:gd name="connsiteY27" fmla="*/ 12967 h 144922"/>
                  <a:gd name="connsiteX28" fmla="*/ 86954 w 129668"/>
                  <a:gd name="connsiteY28" fmla="*/ 24408 h 144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29668" h="144922">
                    <a:moveTo>
                      <a:pt x="133482" y="73987"/>
                    </a:moveTo>
                    <a:lnTo>
                      <a:pt x="133482" y="64834"/>
                    </a:lnTo>
                    <a:cubicBezTo>
                      <a:pt x="133482" y="53393"/>
                      <a:pt x="131956" y="43477"/>
                      <a:pt x="128905" y="35087"/>
                    </a:cubicBezTo>
                    <a:cubicBezTo>
                      <a:pt x="125854" y="26696"/>
                      <a:pt x="121278" y="19832"/>
                      <a:pt x="115176" y="15255"/>
                    </a:cubicBezTo>
                    <a:cubicBezTo>
                      <a:pt x="109836" y="9916"/>
                      <a:pt x="102972" y="6102"/>
                      <a:pt x="95344" y="3814"/>
                    </a:cubicBezTo>
                    <a:cubicBezTo>
                      <a:pt x="87717" y="1526"/>
                      <a:pt x="79326" y="0"/>
                      <a:pt x="70173" y="0"/>
                    </a:cubicBezTo>
                    <a:cubicBezTo>
                      <a:pt x="60257" y="0"/>
                      <a:pt x="51867" y="1526"/>
                      <a:pt x="42714" y="4577"/>
                    </a:cubicBezTo>
                    <a:cubicBezTo>
                      <a:pt x="34324" y="7628"/>
                      <a:pt x="26696" y="12204"/>
                      <a:pt x="20594" y="19069"/>
                    </a:cubicBezTo>
                    <a:cubicBezTo>
                      <a:pt x="14492" y="25171"/>
                      <a:pt x="9153" y="32798"/>
                      <a:pt x="5339" y="42714"/>
                    </a:cubicBezTo>
                    <a:cubicBezTo>
                      <a:pt x="1525" y="51867"/>
                      <a:pt x="0" y="63308"/>
                      <a:pt x="0" y="76275"/>
                    </a:cubicBezTo>
                    <a:cubicBezTo>
                      <a:pt x="0" y="88479"/>
                      <a:pt x="1525" y="99158"/>
                      <a:pt x="5339" y="108311"/>
                    </a:cubicBezTo>
                    <a:cubicBezTo>
                      <a:pt x="9153" y="117464"/>
                      <a:pt x="13729" y="125091"/>
                      <a:pt x="19832" y="131193"/>
                    </a:cubicBezTo>
                    <a:cubicBezTo>
                      <a:pt x="25934" y="137296"/>
                      <a:pt x="33561" y="141872"/>
                      <a:pt x="41951" y="144923"/>
                    </a:cubicBezTo>
                    <a:cubicBezTo>
                      <a:pt x="50342" y="147974"/>
                      <a:pt x="59495" y="149499"/>
                      <a:pt x="69410" y="149499"/>
                    </a:cubicBezTo>
                    <a:cubicBezTo>
                      <a:pt x="102209" y="149499"/>
                      <a:pt x="123566" y="135007"/>
                      <a:pt x="132719" y="106023"/>
                    </a:cubicBezTo>
                    <a:lnTo>
                      <a:pt x="128905" y="103734"/>
                    </a:lnTo>
                    <a:cubicBezTo>
                      <a:pt x="122803" y="110599"/>
                      <a:pt x="115938" y="115176"/>
                      <a:pt x="109074" y="118227"/>
                    </a:cubicBezTo>
                    <a:cubicBezTo>
                      <a:pt x="101446" y="121278"/>
                      <a:pt x="93819" y="122803"/>
                      <a:pt x="85428" y="122803"/>
                    </a:cubicBezTo>
                    <a:cubicBezTo>
                      <a:pt x="80089" y="122803"/>
                      <a:pt x="74750" y="122040"/>
                      <a:pt x="70173" y="120515"/>
                    </a:cubicBezTo>
                    <a:cubicBezTo>
                      <a:pt x="64834" y="118989"/>
                      <a:pt x="61020" y="115938"/>
                      <a:pt x="56444" y="112125"/>
                    </a:cubicBezTo>
                    <a:cubicBezTo>
                      <a:pt x="52630" y="108311"/>
                      <a:pt x="48816" y="102972"/>
                      <a:pt x="46528" y="96870"/>
                    </a:cubicBezTo>
                    <a:cubicBezTo>
                      <a:pt x="44240" y="90768"/>
                      <a:pt x="42714" y="83140"/>
                      <a:pt x="41951" y="73987"/>
                    </a:cubicBezTo>
                    <a:lnTo>
                      <a:pt x="133482" y="73987"/>
                    </a:lnTo>
                    <a:close/>
                    <a:moveTo>
                      <a:pt x="86954" y="24408"/>
                    </a:moveTo>
                    <a:cubicBezTo>
                      <a:pt x="90768" y="32036"/>
                      <a:pt x="93056" y="44240"/>
                      <a:pt x="93056" y="61020"/>
                    </a:cubicBezTo>
                    <a:lnTo>
                      <a:pt x="43477" y="61020"/>
                    </a:lnTo>
                    <a:cubicBezTo>
                      <a:pt x="44240" y="44240"/>
                      <a:pt x="46528" y="32036"/>
                      <a:pt x="51104" y="24408"/>
                    </a:cubicBezTo>
                    <a:cubicBezTo>
                      <a:pt x="55681" y="16781"/>
                      <a:pt x="61783" y="12967"/>
                      <a:pt x="69410" y="12967"/>
                    </a:cubicBezTo>
                    <a:cubicBezTo>
                      <a:pt x="77038" y="12967"/>
                      <a:pt x="83140" y="16781"/>
                      <a:pt x="86954" y="24408"/>
                    </a:cubicBezTo>
                  </a:path>
                </a:pathLst>
              </a:custGeom>
              <a:solidFill>
                <a:srgbClr val="E80033"/>
              </a:solidFill>
              <a:ln w="76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400" dirty="0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02F4FD58-3AC4-4593-84D1-EFEB68FD5BDF}"/>
                  </a:ext>
                </a:extLst>
              </p:cNvPr>
              <p:cNvSpPr/>
              <p:nvPr/>
            </p:nvSpPr>
            <p:spPr>
              <a:xfrm>
                <a:off x="1786382" y="6873876"/>
                <a:ext cx="167806" cy="213571"/>
              </a:xfrm>
              <a:custGeom>
                <a:avLst/>
                <a:gdLst>
                  <a:gd name="connsiteX0" fmla="*/ 114413 w 167805"/>
                  <a:gd name="connsiteY0" fmla="*/ 147974 h 213570"/>
                  <a:gd name="connsiteX1" fmla="*/ 114413 w 167805"/>
                  <a:gd name="connsiteY1" fmla="*/ 166280 h 213570"/>
                  <a:gd name="connsiteX2" fmla="*/ 114413 w 167805"/>
                  <a:gd name="connsiteY2" fmla="*/ 183061 h 213570"/>
                  <a:gd name="connsiteX3" fmla="*/ 114413 w 167805"/>
                  <a:gd name="connsiteY3" fmla="*/ 192976 h 213570"/>
                  <a:gd name="connsiteX4" fmla="*/ 113650 w 167805"/>
                  <a:gd name="connsiteY4" fmla="*/ 196790 h 213570"/>
                  <a:gd name="connsiteX5" fmla="*/ 111362 w 167805"/>
                  <a:gd name="connsiteY5" fmla="*/ 199078 h 213570"/>
                  <a:gd name="connsiteX6" fmla="*/ 94581 w 167805"/>
                  <a:gd name="connsiteY6" fmla="*/ 212045 h 213570"/>
                  <a:gd name="connsiteX7" fmla="*/ 94581 w 167805"/>
                  <a:gd name="connsiteY7" fmla="*/ 215859 h 213570"/>
                  <a:gd name="connsiteX8" fmla="*/ 174670 w 167805"/>
                  <a:gd name="connsiteY8" fmla="*/ 215859 h 213570"/>
                  <a:gd name="connsiteX9" fmla="*/ 174670 w 167805"/>
                  <a:gd name="connsiteY9" fmla="*/ 212045 h 213570"/>
                  <a:gd name="connsiteX10" fmla="*/ 157890 w 167805"/>
                  <a:gd name="connsiteY10" fmla="*/ 199078 h 213570"/>
                  <a:gd name="connsiteX11" fmla="*/ 155602 w 167805"/>
                  <a:gd name="connsiteY11" fmla="*/ 196790 h 213570"/>
                  <a:gd name="connsiteX12" fmla="*/ 154839 w 167805"/>
                  <a:gd name="connsiteY12" fmla="*/ 193739 h 213570"/>
                  <a:gd name="connsiteX13" fmla="*/ 154839 w 167805"/>
                  <a:gd name="connsiteY13" fmla="*/ 180772 h 213570"/>
                  <a:gd name="connsiteX14" fmla="*/ 154839 w 167805"/>
                  <a:gd name="connsiteY14" fmla="*/ 163992 h 213570"/>
                  <a:gd name="connsiteX15" fmla="*/ 154839 w 167805"/>
                  <a:gd name="connsiteY15" fmla="*/ 147211 h 213570"/>
                  <a:gd name="connsiteX16" fmla="*/ 154839 w 167805"/>
                  <a:gd name="connsiteY16" fmla="*/ 133482 h 213570"/>
                  <a:gd name="connsiteX17" fmla="*/ 106785 w 167805"/>
                  <a:gd name="connsiteY17" fmla="*/ 70936 h 213570"/>
                  <a:gd name="connsiteX18" fmla="*/ 80089 w 167805"/>
                  <a:gd name="connsiteY18" fmla="*/ 77801 h 213570"/>
                  <a:gd name="connsiteX19" fmla="*/ 61020 w 167805"/>
                  <a:gd name="connsiteY19" fmla="*/ 97632 h 213570"/>
                  <a:gd name="connsiteX20" fmla="*/ 61020 w 167805"/>
                  <a:gd name="connsiteY20" fmla="*/ 0 h 213570"/>
                  <a:gd name="connsiteX21" fmla="*/ 3051 w 167805"/>
                  <a:gd name="connsiteY21" fmla="*/ 9916 h 213570"/>
                  <a:gd name="connsiteX22" fmla="*/ 3051 w 167805"/>
                  <a:gd name="connsiteY22" fmla="*/ 13730 h 213570"/>
                  <a:gd name="connsiteX23" fmla="*/ 17543 w 167805"/>
                  <a:gd name="connsiteY23" fmla="*/ 28222 h 213570"/>
                  <a:gd name="connsiteX24" fmla="*/ 19832 w 167805"/>
                  <a:gd name="connsiteY24" fmla="*/ 31273 h 213570"/>
                  <a:gd name="connsiteX25" fmla="*/ 19832 w 167805"/>
                  <a:gd name="connsiteY25" fmla="*/ 35087 h 213570"/>
                  <a:gd name="connsiteX26" fmla="*/ 19832 w 167805"/>
                  <a:gd name="connsiteY26" fmla="*/ 194502 h 213570"/>
                  <a:gd name="connsiteX27" fmla="*/ 19069 w 167805"/>
                  <a:gd name="connsiteY27" fmla="*/ 198316 h 213570"/>
                  <a:gd name="connsiteX28" fmla="*/ 16781 w 167805"/>
                  <a:gd name="connsiteY28" fmla="*/ 200604 h 213570"/>
                  <a:gd name="connsiteX29" fmla="*/ 0 w 167805"/>
                  <a:gd name="connsiteY29" fmla="*/ 213571 h 213570"/>
                  <a:gd name="connsiteX30" fmla="*/ 0 w 167805"/>
                  <a:gd name="connsiteY30" fmla="*/ 217384 h 213570"/>
                  <a:gd name="connsiteX31" fmla="*/ 80089 w 167805"/>
                  <a:gd name="connsiteY31" fmla="*/ 217384 h 213570"/>
                  <a:gd name="connsiteX32" fmla="*/ 80089 w 167805"/>
                  <a:gd name="connsiteY32" fmla="*/ 213571 h 213570"/>
                  <a:gd name="connsiteX33" fmla="*/ 63309 w 167805"/>
                  <a:gd name="connsiteY33" fmla="*/ 200604 h 213570"/>
                  <a:gd name="connsiteX34" fmla="*/ 61020 w 167805"/>
                  <a:gd name="connsiteY34" fmla="*/ 198316 h 213570"/>
                  <a:gd name="connsiteX35" fmla="*/ 60257 w 167805"/>
                  <a:gd name="connsiteY35" fmla="*/ 194502 h 213570"/>
                  <a:gd name="connsiteX36" fmla="*/ 60257 w 167805"/>
                  <a:gd name="connsiteY36" fmla="*/ 115938 h 213570"/>
                  <a:gd name="connsiteX37" fmla="*/ 72462 w 167805"/>
                  <a:gd name="connsiteY37" fmla="*/ 100683 h 213570"/>
                  <a:gd name="connsiteX38" fmla="*/ 88479 w 167805"/>
                  <a:gd name="connsiteY38" fmla="*/ 95344 h 213570"/>
                  <a:gd name="connsiteX39" fmla="*/ 106023 w 167805"/>
                  <a:gd name="connsiteY39" fmla="*/ 103734 h 213570"/>
                  <a:gd name="connsiteX40" fmla="*/ 112887 w 167805"/>
                  <a:gd name="connsiteY40" fmla="*/ 134244 h 213570"/>
                  <a:gd name="connsiteX41" fmla="*/ 114413 w 167805"/>
                  <a:gd name="connsiteY41" fmla="*/ 147974 h 213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67805" h="213570">
                    <a:moveTo>
                      <a:pt x="114413" y="147974"/>
                    </a:moveTo>
                    <a:cubicBezTo>
                      <a:pt x="114413" y="154076"/>
                      <a:pt x="114413" y="160178"/>
                      <a:pt x="114413" y="166280"/>
                    </a:cubicBezTo>
                    <a:cubicBezTo>
                      <a:pt x="114413" y="172382"/>
                      <a:pt x="114413" y="177721"/>
                      <a:pt x="114413" y="183061"/>
                    </a:cubicBezTo>
                    <a:cubicBezTo>
                      <a:pt x="114413" y="187637"/>
                      <a:pt x="114413" y="191451"/>
                      <a:pt x="114413" y="192976"/>
                    </a:cubicBezTo>
                    <a:cubicBezTo>
                      <a:pt x="114413" y="194502"/>
                      <a:pt x="114413" y="196027"/>
                      <a:pt x="113650" y="196790"/>
                    </a:cubicBezTo>
                    <a:cubicBezTo>
                      <a:pt x="113650" y="197553"/>
                      <a:pt x="112887" y="198316"/>
                      <a:pt x="111362" y="199078"/>
                    </a:cubicBezTo>
                    <a:lnTo>
                      <a:pt x="94581" y="212045"/>
                    </a:lnTo>
                    <a:lnTo>
                      <a:pt x="94581" y="215859"/>
                    </a:lnTo>
                    <a:lnTo>
                      <a:pt x="174670" y="215859"/>
                    </a:lnTo>
                    <a:lnTo>
                      <a:pt x="174670" y="212045"/>
                    </a:lnTo>
                    <a:lnTo>
                      <a:pt x="157890" y="199078"/>
                    </a:lnTo>
                    <a:cubicBezTo>
                      <a:pt x="156364" y="198316"/>
                      <a:pt x="156364" y="197553"/>
                      <a:pt x="155602" y="196790"/>
                    </a:cubicBezTo>
                    <a:cubicBezTo>
                      <a:pt x="155602" y="196027"/>
                      <a:pt x="154839" y="195265"/>
                      <a:pt x="154839" y="193739"/>
                    </a:cubicBezTo>
                    <a:cubicBezTo>
                      <a:pt x="154839" y="190688"/>
                      <a:pt x="154839" y="186112"/>
                      <a:pt x="154839" y="180772"/>
                    </a:cubicBezTo>
                    <a:cubicBezTo>
                      <a:pt x="154839" y="175433"/>
                      <a:pt x="154839" y="170094"/>
                      <a:pt x="154839" y="163992"/>
                    </a:cubicBezTo>
                    <a:cubicBezTo>
                      <a:pt x="154839" y="157890"/>
                      <a:pt x="154839" y="152551"/>
                      <a:pt x="154839" y="147211"/>
                    </a:cubicBezTo>
                    <a:cubicBezTo>
                      <a:pt x="154839" y="141872"/>
                      <a:pt x="154839" y="137295"/>
                      <a:pt x="154839" y="133482"/>
                    </a:cubicBezTo>
                    <a:cubicBezTo>
                      <a:pt x="154839" y="92293"/>
                      <a:pt x="138821" y="70936"/>
                      <a:pt x="106785" y="70936"/>
                    </a:cubicBezTo>
                    <a:cubicBezTo>
                      <a:pt x="96107" y="70936"/>
                      <a:pt x="86954" y="73224"/>
                      <a:pt x="80089" y="77801"/>
                    </a:cubicBezTo>
                    <a:cubicBezTo>
                      <a:pt x="73224" y="82377"/>
                      <a:pt x="66359" y="89242"/>
                      <a:pt x="61020" y="97632"/>
                    </a:cubicBezTo>
                    <a:lnTo>
                      <a:pt x="61020" y="0"/>
                    </a:lnTo>
                    <a:lnTo>
                      <a:pt x="3051" y="9916"/>
                    </a:lnTo>
                    <a:lnTo>
                      <a:pt x="3051" y="13730"/>
                    </a:lnTo>
                    <a:lnTo>
                      <a:pt x="17543" y="28222"/>
                    </a:lnTo>
                    <a:cubicBezTo>
                      <a:pt x="19069" y="28985"/>
                      <a:pt x="19069" y="29747"/>
                      <a:pt x="19832" y="31273"/>
                    </a:cubicBezTo>
                    <a:cubicBezTo>
                      <a:pt x="19832" y="32036"/>
                      <a:pt x="19832" y="33561"/>
                      <a:pt x="19832" y="35087"/>
                    </a:cubicBezTo>
                    <a:lnTo>
                      <a:pt x="19832" y="194502"/>
                    </a:lnTo>
                    <a:cubicBezTo>
                      <a:pt x="19832" y="196027"/>
                      <a:pt x="19832" y="197553"/>
                      <a:pt x="19069" y="198316"/>
                    </a:cubicBezTo>
                    <a:cubicBezTo>
                      <a:pt x="19069" y="199078"/>
                      <a:pt x="18306" y="199841"/>
                      <a:pt x="16781" y="200604"/>
                    </a:cubicBezTo>
                    <a:lnTo>
                      <a:pt x="0" y="213571"/>
                    </a:lnTo>
                    <a:lnTo>
                      <a:pt x="0" y="217384"/>
                    </a:lnTo>
                    <a:lnTo>
                      <a:pt x="80089" y="217384"/>
                    </a:lnTo>
                    <a:lnTo>
                      <a:pt x="80089" y="213571"/>
                    </a:lnTo>
                    <a:lnTo>
                      <a:pt x="63309" y="200604"/>
                    </a:lnTo>
                    <a:cubicBezTo>
                      <a:pt x="61783" y="199841"/>
                      <a:pt x="61783" y="199078"/>
                      <a:pt x="61020" y="198316"/>
                    </a:cubicBezTo>
                    <a:cubicBezTo>
                      <a:pt x="61020" y="197553"/>
                      <a:pt x="60257" y="196790"/>
                      <a:pt x="60257" y="194502"/>
                    </a:cubicBezTo>
                    <a:lnTo>
                      <a:pt x="60257" y="115938"/>
                    </a:lnTo>
                    <a:cubicBezTo>
                      <a:pt x="64071" y="109074"/>
                      <a:pt x="67885" y="104497"/>
                      <a:pt x="72462" y="100683"/>
                    </a:cubicBezTo>
                    <a:cubicBezTo>
                      <a:pt x="77038" y="96870"/>
                      <a:pt x="82377" y="95344"/>
                      <a:pt x="88479" y="95344"/>
                    </a:cubicBezTo>
                    <a:cubicBezTo>
                      <a:pt x="95344" y="95344"/>
                      <a:pt x="101446" y="98395"/>
                      <a:pt x="106023" y="103734"/>
                    </a:cubicBezTo>
                    <a:cubicBezTo>
                      <a:pt x="110599" y="109074"/>
                      <a:pt x="112887" y="119752"/>
                      <a:pt x="112887" y="134244"/>
                    </a:cubicBezTo>
                    <a:cubicBezTo>
                      <a:pt x="114413" y="137295"/>
                      <a:pt x="114413" y="141872"/>
                      <a:pt x="114413" y="147974"/>
                    </a:cubicBezTo>
                  </a:path>
                </a:pathLst>
              </a:custGeom>
              <a:solidFill>
                <a:srgbClr val="E80033"/>
              </a:solidFill>
              <a:ln w="76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400" dirty="0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5226CE4F-56B9-49CD-9E88-10E2DB3A9353}"/>
                  </a:ext>
                </a:extLst>
              </p:cNvPr>
              <p:cNvSpPr/>
              <p:nvPr/>
            </p:nvSpPr>
            <p:spPr>
              <a:xfrm>
                <a:off x="1676545" y="6897522"/>
                <a:ext cx="99158" cy="190688"/>
              </a:xfrm>
              <a:custGeom>
                <a:avLst/>
                <a:gdLst>
                  <a:gd name="connsiteX0" fmla="*/ 57969 w 99157"/>
                  <a:gd name="connsiteY0" fmla="*/ 0 h 190688"/>
                  <a:gd name="connsiteX1" fmla="*/ 21357 w 99157"/>
                  <a:gd name="connsiteY1" fmla="*/ 45765 h 190688"/>
                  <a:gd name="connsiteX2" fmla="*/ 17543 w 99157"/>
                  <a:gd name="connsiteY2" fmla="*/ 49579 h 190688"/>
                  <a:gd name="connsiteX3" fmla="*/ 12967 w 99157"/>
                  <a:gd name="connsiteY3" fmla="*/ 50342 h 190688"/>
                  <a:gd name="connsiteX4" fmla="*/ 0 w 99157"/>
                  <a:gd name="connsiteY4" fmla="*/ 50342 h 190688"/>
                  <a:gd name="connsiteX5" fmla="*/ 0 w 99157"/>
                  <a:gd name="connsiteY5" fmla="*/ 66360 h 190688"/>
                  <a:gd name="connsiteX6" fmla="*/ 19832 w 99157"/>
                  <a:gd name="connsiteY6" fmla="*/ 66360 h 190688"/>
                  <a:gd name="connsiteX7" fmla="*/ 19832 w 99157"/>
                  <a:gd name="connsiteY7" fmla="*/ 154839 h 190688"/>
                  <a:gd name="connsiteX8" fmla="*/ 29747 w 99157"/>
                  <a:gd name="connsiteY8" fmla="*/ 185349 h 190688"/>
                  <a:gd name="connsiteX9" fmla="*/ 58732 w 99157"/>
                  <a:gd name="connsiteY9" fmla="*/ 196027 h 190688"/>
                  <a:gd name="connsiteX10" fmla="*/ 87717 w 99157"/>
                  <a:gd name="connsiteY10" fmla="*/ 186874 h 190688"/>
                  <a:gd name="connsiteX11" fmla="*/ 102209 w 99157"/>
                  <a:gd name="connsiteY11" fmla="*/ 163229 h 190688"/>
                  <a:gd name="connsiteX12" fmla="*/ 98395 w 99157"/>
                  <a:gd name="connsiteY12" fmla="*/ 161704 h 190688"/>
                  <a:gd name="connsiteX13" fmla="*/ 90005 w 99157"/>
                  <a:gd name="connsiteY13" fmla="*/ 169331 h 190688"/>
                  <a:gd name="connsiteX14" fmla="*/ 78563 w 99157"/>
                  <a:gd name="connsiteY14" fmla="*/ 172382 h 190688"/>
                  <a:gd name="connsiteX15" fmla="*/ 66359 w 99157"/>
                  <a:gd name="connsiteY15" fmla="*/ 167806 h 190688"/>
                  <a:gd name="connsiteX16" fmla="*/ 61020 w 99157"/>
                  <a:gd name="connsiteY16" fmla="*/ 152550 h 190688"/>
                  <a:gd name="connsiteX17" fmla="*/ 61020 w 99157"/>
                  <a:gd name="connsiteY17" fmla="*/ 67122 h 190688"/>
                  <a:gd name="connsiteX18" fmla="*/ 99921 w 99157"/>
                  <a:gd name="connsiteY18" fmla="*/ 67122 h 190688"/>
                  <a:gd name="connsiteX19" fmla="*/ 99921 w 99157"/>
                  <a:gd name="connsiteY19" fmla="*/ 50342 h 190688"/>
                  <a:gd name="connsiteX20" fmla="*/ 61020 w 99157"/>
                  <a:gd name="connsiteY20" fmla="*/ 50342 h 190688"/>
                  <a:gd name="connsiteX21" fmla="*/ 61020 w 99157"/>
                  <a:gd name="connsiteY21" fmla="*/ 0 h 190688"/>
                  <a:gd name="connsiteX22" fmla="*/ 57969 w 99157"/>
                  <a:gd name="connsiteY22" fmla="*/ 0 h 190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99157" h="190688">
                    <a:moveTo>
                      <a:pt x="57969" y="0"/>
                    </a:moveTo>
                    <a:lnTo>
                      <a:pt x="21357" y="45765"/>
                    </a:lnTo>
                    <a:cubicBezTo>
                      <a:pt x="19832" y="48053"/>
                      <a:pt x="18306" y="48816"/>
                      <a:pt x="17543" y="49579"/>
                    </a:cubicBezTo>
                    <a:cubicBezTo>
                      <a:pt x="16781" y="50342"/>
                      <a:pt x="15255" y="50342"/>
                      <a:pt x="12967" y="50342"/>
                    </a:cubicBezTo>
                    <a:lnTo>
                      <a:pt x="0" y="50342"/>
                    </a:lnTo>
                    <a:lnTo>
                      <a:pt x="0" y="66360"/>
                    </a:lnTo>
                    <a:lnTo>
                      <a:pt x="19832" y="66360"/>
                    </a:lnTo>
                    <a:lnTo>
                      <a:pt x="19832" y="154839"/>
                    </a:lnTo>
                    <a:cubicBezTo>
                      <a:pt x="19832" y="168568"/>
                      <a:pt x="22883" y="178484"/>
                      <a:pt x="29747" y="185349"/>
                    </a:cubicBezTo>
                    <a:cubicBezTo>
                      <a:pt x="36612" y="192214"/>
                      <a:pt x="46528" y="196027"/>
                      <a:pt x="58732" y="196027"/>
                    </a:cubicBezTo>
                    <a:cubicBezTo>
                      <a:pt x="70936" y="196027"/>
                      <a:pt x="80852" y="192976"/>
                      <a:pt x="87717" y="186874"/>
                    </a:cubicBezTo>
                    <a:cubicBezTo>
                      <a:pt x="95344" y="180772"/>
                      <a:pt x="99921" y="173145"/>
                      <a:pt x="102209" y="163229"/>
                    </a:cubicBezTo>
                    <a:lnTo>
                      <a:pt x="98395" y="161704"/>
                    </a:lnTo>
                    <a:cubicBezTo>
                      <a:pt x="96107" y="164755"/>
                      <a:pt x="93056" y="167806"/>
                      <a:pt x="90005" y="169331"/>
                    </a:cubicBezTo>
                    <a:cubicBezTo>
                      <a:pt x="86954" y="170857"/>
                      <a:pt x="83140" y="172382"/>
                      <a:pt x="78563" y="172382"/>
                    </a:cubicBezTo>
                    <a:cubicBezTo>
                      <a:pt x="73224" y="172382"/>
                      <a:pt x="69410" y="170857"/>
                      <a:pt x="66359" y="167806"/>
                    </a:cubicBezTo>
                    <a:cubicBezTo>
                      <a:pt x="63308" y="164755"/>
                      <a:pt x="61020" y="159415"/>
                      <a:pt x="61020" y="152550"/>
                    </a:cubicBezTo>
                    <a:lnTo>
                      <a:pt x="61020" y="67122"/>
                    </a:lnTo>
                    <a:lnTo>
                      <a:pt x="99921" y="67122"/>
                    </a:lnTo>
                    <a:lnTo>
                      <a:pt x="99921" y="50342"/>
                    </a:lnTo>
                    <a:lnTo>
                      <a:pt x="61020" y="50342"/>
                    </a:lnTo>
                    <a:lnTo>
                      <a:pt x="61020" y="0"/>
                    </a:lnTo>
                    <a:lnTo>
                      <a:pt x="57969" y="0"/>
                    </a:lnTo>
                    <a:close/>
                  </a:path>
                </a:pathLst>
              </a:custGeom>
              <a:solidFill>
                <a:srgbClr val="E80033"/>
              </a:solidFill>
              <a:ln w="76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400" dirty="0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B3ACF672-8B01-49AE-96CD-3BDDD14EE5D2}"/>
                  </a:ext>
                </a:extLst>
              </p:cNvPr>
              <p:cNvSpPr/>
              <p:nvPr/>
            </p:nvSpPr>
            <p:spPr>
              <a:xfrm>
                <a:off x="1532385" y="6944812"/>
                <a:ext cx="129668" cy="144923"/>
              </a:xfrm>
              <a:custGeom>
                <a:avLst/>
                <a:gdLst>
                  <a:gd name="connsiteX0" fmla="*/ 133482 w 129668"/>
                  <a:gd name="connsiteY0" fmla="*/ 73987 h 144922"/>
                  <a:gd name="connsiteX1" fmla="*/ 133482 w 129668"/>
                  <a:gd name="connsiteY1" fmla="*/ 64834 h 144922"/>
                  <a:gd name="connsiteX2" fmla="*/ 128905 w 129668"/>
                  <a:gd name="connsiteY2" fmla="*/ 35087 h 144922"/>
                  <a:gd name="connsiteX3" fmla="*/ 115176 w 129668"/>
                  <a:gd name="connsiteY3" fmla="*/ 15255 h 144922"/>
                  <a:gd name="connsiteX4" fmla="*/ 95344 w 129668"/>
                  <a:gd name="connsiteY4" fmla="*/ 3814 h 144922"/>
                  <a:gd name="connsiteX5" fmla="*/ 70173 w 129668"/>
                  <a:gd name="connsiteY5" fmla="*/ 0 h 144922"/>
                  <a:gd name="connsiteX6" fmla="*/ 42714 w 129668"/>
                  <a:gd name="connsiteY6" fmla="*/ 4577 h 144922"/>
                  <a:gd name="connsiteX7" fmla="*/ 20594 w 129668"/>
                  <a:gd name="connsiteY7" fmla="*/ 19069 h 144922"/>
                  <a:gd name="connsiteX8" fmla="*/ 5339 w 129668"/>
                  <a:gd name="connsiteY8" fmla="*/ 42714 h 144922"/>
                  <a:gd name="connsiteX9" fmla="*/ 0 w 129668"/>
                  <a:gd name="connsiteY9" fmla="*/ 76275 h 144922"/>
                  <a:gd name="connsiteX10" fmla="*/ 5339 w 129668"/>
                  <a:gd name="connsiteY10" fmla="*/ 108311 h 144922"/>
                  <a:gd name="connsiteX11" fmla="*/ 20594 w 129668"/>
                  <a:gd name="connsiteY11" fmla="*/ 131193 h 144922"/>
                  <a:gd name="connsiteX12" fmla="*/ 42714 w 129668"/>
                  <a:gd name="connsiteY12" fmla="*/ 144923 h 144922"/>
                  <a:gd name="connsiteX13" fmla="*/ 70173 w 129668"/>
                  <a:gd name="connsiteY13" fmla="*/ 149499 h 144922"/>
                  <a:gd name="connsiteX14" fmla="*/ 133482 w 129668"/>
                  <a:gd name="connsiteY14" fmla="*/ 106023 h 144922"/>
                  <a:gd name="connsiteX15" fmla="*/ 129668 w 129668"/>
                  <a:gd name="connsiteY15" fmla="*/ 103734 h 144922"/>
                  <a:gd name="connsiteX16" fmla="*/ 109837 w 129668"/>
                  <a:gd name="connsiteY16" fmla="*/ 118227 h 144922"/>
                  <a:gd name="connsiteX17" fmla="*/ 86191 w 129668"/>
                  <a:gd name="connsiteY17" fmla="*/ 122803 h 144922"/>
                  <a:gd name="connsiteX18" fmla="*/ 70936 w 129668"/>
                  <a:gd name="connsiteY18" fmla="*/ 120515 h 144922"/>
                  <a:gd name="connsiteX19" fmla="*/ 57206 w 129668"/>
                  <a:gd name="connsiteY19" fmla="*/ 112125 h 144922"/>
                  <a:gd name="connsiteX20" fmla="*/ 47291 w 129668"/>
                  <a:gd name="connsiteY20" fmla="*/ 96870 h 144922"/>
                  <a:gd name="connsiteX21" fmla="*/ 42714 w 129668"/>
                  <a:gd name="connsiteY21" fmla="*/ 73987 h 144922"/>
                  <a:gd name="connsiteX22" fmla="*/ 133482 w 129668"/>
                  <a:gd name="connsiteY22" fmla="*/ 73987 h 144922"/>
                  <a:gd name="connsiteX23" fmla="*/ 86954 w 129668"/>
                  <a:gd name="connsiteY23" fmla="*/ 24408 h 144922"/>
                  <a:gd name="connsiteX24" fmla="*/ 93056 w 129668"/>
                  <a:gd name="connsiteY24" fmla="*/ 61020 h 144922"/>
                  <a:gd name="connsiteX25" fmla="*/ 43477 w 129668"/>
                  <a:gd name="connsiteY25" fmla="*/ 61020 h 144922"/>
                  <a:gd name="connsiteX26" fmla="*/ 51104 w 129668"/>
                  <a:gd name="connsiteY26" fmla="*/ 24408 h 144922"/>
                  <a:gd name="connsiteX27" fmla="*/ 69411 w 129668"/>
                  <a:gd name="connsiteY27" fmla="*/ 12967 h 144922"/>
                  <a:gd name="connsiteX28" fmla="*/ 86954 w 129668"/>
                  <a:gd name="connsiteY28" fmla="*/ 24408 h 144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29668" h="144922">
                    <a:moveTo>
                      <a:pt x="133482" y="73987"/>
                    </a:moveTo>
                    <a:lnTo>
                      <a:pt x="133482" y="64834"/>
                    </a:lnTo>
                    <a:cubicBezTo>
                      <a:pt x="133482" y="53393"/>
                      <a:pt x="131956" y="43477"/>
                      <a:pt x="128905" y="35087"/>
                    </a:cubicBezTo>
                    <a:cubicBezTo>
                      <a:pt x="125854" y="26696"/>
                      <a:pt x="121278" y="19832"/>
                      <a:pt x="115176" y="15255"/>
                    </a:cubicBezTo>
                    <a:cubicBezTo>
                      <a:pt x="109837" y="9916"/>
                      <a:pt x="102972" y="6102"/>
                      <a:pt x="95344" y="3814"/>
                    </a:cubicBezTo>
                    <a:cubicBezTo>
                      <a:pt x="87717" y="1526"/>
                      <a:pt x="79326" y="0"/>
                      <a:pt x="70173" y="0"/>
                    </a:cubicBezTo>
                    <a:cubicBezTo>
                      <a:pt x="60258" y="0"/>
                      <a:pt x="51867" y="1526"/>
                      <a:pt x="42714" y="4577"/>
                    </a:cubicBezTo>
                    <a:cubicBezTo>
                      <a:pt x="34324" y="7628"/>
                      <a:pt x="26696" y="12204"/>
                      <a:pt x="20594" y="19069"/>
                    </a:cubicBezTo>
                    <a:cubicBezTo>
                      <a:pt x="14492" y="25171"/>
                      <a:pt x="9153" y="32798"/>
                      <a:pt x="5339" y="42714"/>
                    </a:cubicBezTo>
                    <a:cubicBezTo>
                      <a:pt x="1525" y="51867"/>
                      <a:pt x="0" y="63308"/>
                      <a:pt x="0" y="76275"/>
                    </a:cubicBezTo>
                    <a:cubicBezTo>
                      <a:pt x="0" y="88479"/>
                      <a:pt x="1525" y="99158"/>
                      <a:pt x="5339" y="108311"/>
                    </a:cubicBezTo>
                    <a:cubicBezTo>
                      <a:pt x="9153" y="117464"/>
                      <a:pt x="13730" y="125091"/>
                      <a:pt x="20594" y="131193"/>
                    </a:cubicBezTo>
                    <a:cubicBezTo>
                      <a:pt x="26696" y="137296"/>
                      <a:pt x="34324" y="141872"/>
                      <a:pt x="42714" y="144923"/>
                    </a:cubicBezTo>
                    <a:cubicBezTo>
                      <a:pt x="51104" y="147974"/>
                      <a:pt x="60258" y="149499"/>
                      <a:pt x="70173" y="149499"/>
                    </a:cubicBezTo>
                    <a:cubicBezTo>
                      <a:pt x="102972" y="149499"/>
                      <a:pt x="124329" y="135007"/>
                      <a:pt x="133482" y="106023"/>
                    </a:cubicBezTo>
                    <a:lnTo>
                      <a:pt x="129668" y="103734"/>
                    </a:lnTo>
                    <a:cubicBezTo>
                      <a:pt x="123566" y="110599"/>
                      <a:pt x="116701" y="115176"/>
                      <a:pt x="109837" y="118227"/>
                    </a:cubicBezTo>
                    <a:cubicBezTo>
                      <a:pt x="102209" y="121278"/>
                      <a:pt x="94581" y="122803"/>
                      <a:pt x="86191" y="122803"/>
                    </a:cubicBezTo>
                    <a:cubicBezTo>
                      <a:pt x="80852" y="122803"/>
                      <a:pt x="75513" y="122040"/>
                      <a:pt x="70936" y="120515"/>
                    </a:cubicBezTo>
                    <a:cubicBezTo>
                      <a:pt x="65597" y="118989"/>
                      <a:pt x="61783" y="115938"/>
                      <a:pt x="57206" y="112125"/>
                    </a:cubicBezTo>
                    <a:cubicBezTo>
                      <a:pt x="53393" y="108311"/>
                      <a:pt x="49579" y="102972"/>
                      <a:pt x="47291" y="96870"/>
                    </a:cubicBezTo>
                    <a:cubicBezTo>
                      <a:pt x="45002" y="90768"/>
                      <a:pt x="43477" y="83140"/>
                      <a:pt x="42714" y="73987"/>
                    </a:cubicBezTo>
                    <a:lnTo>
                      <a:pt x="133482" y="73987"/>
                    </a:lnTo>
                    <a:close/>
                    <a:moveTo>
                      <a:pt x="86954" y="24408"/>
                    </a:moveTo>
                    <a:cubicBezTo>
                      <a:pt x="90768" y="32036"/>
                      <a:pt x="93056" y="44240"/>
                      <a:pt x="93056" y="61020"/>
                    </a:cubicBezTo>
                    <a:lnTo>
                      <a:pt x="43477" y="61020"/>
                    </a:lnTo>
                    <a:cubicBezTo>
                      <a:pt x="44240" y="44240"/>
                      <a:pt x="46528" y="32036"/>
                      <a:pt x="51104" y="24408"/>
                    </a:cubicBezTo>
                    <a:cubicBezTo>
                      <a:pt x="55681" y="16781"/>
                      <a:pt x="61783" y="12967"/>
                      <a:pt x="69411" y="12967"/>
                    </a:cubicBezTo>
                    <a:cubicBezTo>
                      <a:pt x="77038" y="12967"/>
                      <a:pt x="83140" y="16781"/>
                      <a:pt x="86954" y="24408"/>
                    </a:cubicBezTo>
                  </a:path>
                </a:pathLst>
              </a:custGeom>
              <a:solidFill>
                <a:srgbClr val="E80033"/>
              </a:solidFill>
              <a:ln w="76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400" dirty="0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A728841D-AF56-431B-BA06-6034AE43DB93}"/>
                  </a:ext>
                </a:extLst>
              </p:cNvPr>
              <p:cNvSpPr/>
              <p:nvPr/>
            </p:nvSpPr>
            <p:spPr>
              <a:xfrm>
                <a:off x="1376021" y="6924218"/>
                <a:ext cx="144923" cy="236453"/>
              </a:xfrm>
              <a:custGeom>
                <a:avLst/>
                <a:gdLst>
                  <a:gd name="connsiteX0" fmla="*/ 93819 w 144923"/>
                  <a:gd name="connsiteY0" fmla="*/ 232639 h 236453"/>
                  <a:gd name="connsiteX1" fmla="*/ 119752 w 144923"/>
                  <a:gd name="connsiteY1" fmla="*/ 220436 h 236453"/>
                  <a:gd name="connsiteX2" fmla="*/ 137296 w 144923"/>
                  <a:gd name="connsiteY2" fmla="*/ 202129 h 236453"/>
                  <a:gd name="connsiteX3" fmla="*/ 144160 w 144923"/>
                  <a:gd name="connsiteY3" fmla="*/ 177721 h 236453"/>
                  <a:gd name="connsiteX4" fmla="*/ 130431 w 144923"/>
                  <a:gd name="connsiteY4" fmla="*/ 149499 h 236453"/>
                  <a:gd name="connsiteX5" fmla="*/ 94581 w 144923"/>
                  <a:gd name="connsiteY5" fmla="*/ 140346 h 236453"/>
                  <a:gd name="connsiteX6" fmla="*/ 62546 w 144923"/>
                  <a:gd name="connsiteY6" fmla="*/ 140346 h 236453"/>
                  <a:gd name="connsiteX7" fmla="*/ 42714 w 144923"/>
                  <a:gd name="connsiteY7" fmla="*/ 136533 h 236453"/>
                  <a:gd name="connsiteX8" fmla="*/ 37375 w 144923"/>
                  <a:gd name="connsiteY8" fmla="*/ 128142 h 236453"/>
                  <a:gd name="connsiteX9" fmla="*/ 40426 w 144923"/>
                  <a:gd name="connsiteY9" fmla="*/ 121278 h 236453"/>
                  <a:gd name="connsiteX10" fmla="*/ 48816 w 144923"/>
                  <a:gd name="connsiteY10" fmla="*/ 116701 h 236453"/>
                  <a:gd name="connsiteX11" fmla="*/ 68648 w 144923"/>
                  <a:gd name="connsiteY11" fmla="*/ 118227 h 236453"/>
                  <a:gd name="connsiteX12" fmla="*/ 94581 w 144923"/>
                  <a:gd name="connsiteY12" fmla="*/ 115176 h 236453"/>
                  <a:gd name="connsiteX13" fmla="*/ 114413 w 144923"/>
                  <a:gd name="connsiteY13" fmla="*/ 106023 h 236453"/>
                  <a:gd name="connsiteX14" fmla="*/ 127380 w 144923"/>
                  <a:gd name="connsiteY14" fmla="*/ 90768 h 236453"/>
                  <a:gd name="connsiteX15" fmla="*/ 131956 w 144923"/>
                  <a:gd name="connsiteY15" fmla="*/ 70936 h 236453"/>
                  <a:gd name="connsiteX16" fmla="*/ 128143 w 144923"/>
                  <a:gd name="connsiteY16" fmla="*/ 52630 h 236453"/>
                  <a:gd name="connsiteX17" fmla="*/ 118227 w 144923"/>
                  <a:gd name="connsiteY17" fmla="*/ 40426 h 236453"/>
                  <a:gd name="connsiteX18" fmla="*/ 149500 w 144923"/>
                  <a:gd name="connsiteY18" fmla="*/ 40426 h 236453"/>
                  <a:gd name="connsiteX19" fmla="*/ 149500 w 144923"/>
                  <a:gd name="connsiteY19" fmla="*/ 0 h 236453"/>
                  <a:gd name="connsiteX20" fmla="*/ 145686 w 144923"/>
                  <a:gd name="connsiteY20" fmla="*/ 0 h 236453"/>
                  <a:gd name="connsiteX21" fmla="*/ 113650 w 144923"/>
                  <a:gd name="connsiteY21" fmla="*/ 29747 h 236453"/>
                  <a:gd name="connsiteX22" fmla="*/ 109837 w 144923"/>
                  <a:gd name="connsiteY22" fmla="*/ 32036 h 236453"/>
                  <a:gd name="connsiteX23" fmla="*/ 106023 w 144923"/>
                  <a:gd name="connsiteY23" fmla="*/ 30510 h 236453"/>
                  <a:gd name="connsiteX24" fmla="*/ 90005 w 144923"/>
                  <a:gd name="connsiteY24" fmla="*/ 25171 h 236453"/>
                  <a:gd name="connsiteX25" fmla="*/ 67122 w 144923"/>
                  <a:gd name="connsiteY25" fmla="*/ 22883 h 236453"/>
                  <a:gd name="connsiteX26" fmla="*/ 41189 w 144923"/>
                  <a:gd name="connsiteY26" fmla="*/ 25934 h 236453"/>
                  <a:gd name="connsiteX27" fmla="*/ 21357 w 144923"/>
                  <a:gd name="connsiteY27" fmla="*/ 35087 h 236453"/>
                  <a:gd name="connsiteX28" fmla="*/ 8390 w 144923"/>
                  <a:gd name="connsiteY28" fmla="*/ 50342 h 236453"/>
                  <a:gd name="connsiteX29" fmla="*/ 3814 w 144923"/>
                  <a:gd name="connsiteY29" fmla="*/ 70936 h 236453"/>
                  <a:gd name="connsiteX30" fmla="*/ 6865 w 144923"/>
                  <a:gd name="connsiteY30" fmla="*/ 86954 h 236453"/>
                  <a:gd name="connsiteX31" fmla="*/ 14492 w 144923"/>
                  <a:gd name="connsiteY31" fmla="*/ 99158 h 236453"/>
                  <a:gd name="connsiteX32" fmla="*/ 25171 w 144923"/>
                  <a:gd name="connsiteY32" fmla="*/ 108311 h 236453"/>
                  <a:gd name="connsiteX33" fmla="*/ 38138 w 144923"/>
                  <a:gd name="connsiteY33" fmla="*/ 114413 h 236453"/>
                  <a:gd name="connsiteX34" fmla="*/ 14492 w 144923"/>
                  <a:gd name="connsiteY34" fmla="*/ 127380 h 236453"/>
                  <a:gd name="connsiteX35" fmla="*/ 5339 w 144923"/>
                  <a:gd name="connsiteY35" fmla="*/ 147974 h 236453"/>
                  <a:gd name="connsiteX36" fmla="*/ 12967 w 144923"/>
                  <a:gd name="connsiteY36" fmla="*/ 166280 h 236453"/>
                  <a:gd name="connsiteX37" fmla="*/ 32798 w 144923"/>
                  <a:gd name="connsiteY37" fmla="*/ 176196 h 236453"/>
                  <a:gd name="connsiteX38" fmla="*/ 9153 w 144923"/>
                  <a:gd name="connsiteY38" fmla="*/ 186874 h 236453"/>
                  <a:gd name="connsiteX39" fmla="*/ 0 w 144923"/>
                  <a:gd name="connsiteY39" fmla="*/ 204418 h 236453"/>
                  <a:gd name="connsiteX40" fmla="*/ 6102 w 144923"/>
                  <a:gd name="connsiteY40" fmla="*/ 218910 h 236453"/>
                  <a:gd name="connsiteX41" fmla="*/ 20594 w 144923"/>
                  <a:gd name="connsiteY41" fmla="*/ 229589 h 236453"/>
                  <a:gd name="connsiteX42" fmla="*/ 41189 w 144923"/>
                  <a:gd name="connsiteY42" fmla="*/ 235691 h 236453"/>
                  <a:gd name="connsiteX43" fmla="*/ 64071 w 144923"/>
                  <a:gd name="connsiteY43" fmla="*/ 237979 h 236453"/>
                  <a:gd name="connsiteX44" fmla="*/ 93819 w 144923"/>
                  <a:gd name="connsiteY44" fmla="*/ 232639 h 236453"/>
                  <a:gd name="connsiteX45" fmla="*/ 39663 w 144923"/>
                  <a:gd name="connsiteY45" fmla="*/ 215096 h 236453"/>
                  <a:gd name="connsiteX46" fmla="*/ 28222 w 144923"/>
                  <a:gd name="connsiteY46" fmla="*/ 196027 h 236453"/>
                  <a:gd name="connsiteX47" fmla="*/ 32036 w 144923"/>
                  <a:gd name="connsiteY47" fmla="*/ 183823 h 236453"/>
                  <a:gd name="connsiteX48" fmla="*/ 41951 w 144923"/>
                  <a:gd name="connsiteY48" fmla="*/ 175433 h 236453"/>
                  <a:gd name="connsiteX49" fmla="*/ 49579 w 144923"/>
                  <a:gd name="connsiteY49" fmla="*/ 176196 h 236453"/>
                  <a:gd name="connsiteX50" fmla="*/ 90005 w 144923"/>
                  <a:gd name="connsiteY50" fmla="*/ 177721 h 236453"/>
                  <a:gd name="connsiteX51" fmla="*/ 109837 w 144923"/>
                  <a:gd name="connsiteY51" fmla="*/ 182298 h 236453"/>
                  <a:gd name="connsiteX52" fmla="*/ 115938 w 144923"/>
                  <a:gd name="connsiteY52" fmla="*/ 194502 h 236453"/>
                  <a:gd name="connsiteX53" fmla="*/ 112125 w 144923"/>
                  <a:gd name="connsiteY53" fmla="*/ 205943 h 236453"/>
                  <a:gd name="connsiteX54" fmla="*/ 102209 w 144923"/>
                  <a:gd name="connsiteY54" fmla="*/ 214333 h 236453"/>
                  <a:gd name="connsiteX55" fmla="*/ 87717 w 144923"/>
                  <a:gd name="connsiteY55" fmla="*/ 219673 h 236453"/>
                  <a:gd name="connsiteX56" fmla="*/ 70173 w 144923"/>
                  <a:gd name="connsiteY56" fmla="*/ 221198 h 236453"/>
                  <a:gd name="connsiteX57" fmla="*/ 39663 w 144923"/>
                  <a:gd name="connsiteY57" fmla="*/ 215096 h 236453"/>
                  <a:gd name="connsiteX58" fmla="*/ 50342 w 144923"/>
                  <a:gd name="connsiteY58" fmla="*/ 95344 h 236453"/>
                  <a:gd name="connsiteX59" fmla="*/ 43477 w 144923"/>
                  <a:gd name="connsiteY59" fmla="*/ 67885 h 236453"/>
                  <a:gd name="connsiteX60" fmla="*/ 50342 w 144923"/>
                  <a:gd name="connsiteY60" fmla="*/ 41951 h 236453"/>
                  <a:gd name="connsiteX61" fmla="*/ 68648 w 144923"/>
                  <a:gd name="connsiteY61" fmla="*/ 34324 h 236453"/>
                  <a:gd name="connsiteX62" fmla="*/ 86954 w 144923"/>
                  <a:gd name="connsiteY62" fmla="*/ 42714 h 236453"/>
                  <a:gd name="connsiteX63" fmla="*/ 93819 w 144923"/>
                  <a:gd name="connsiteY63" fmla="*/ 69410 h 236453"/>
                  <a:gd name="connsiteX64" fmla="*/ 86954 w 144923"/>
                  <a:gd name="connsiteY64" fmla="*/ 96870 h 236453"/>
                  <a:gd name="connsiteX65" fmla="*/ 68648 w 144923"/>
                  <a:gd name="connsiteY65" fmla="*/ 106023 h 236453"/>
                  <a:gd name="connsiteX66" fmla="*/ 50342 w 144923"/>
                  <a:gd name="connsiteY66" fmla="*/ 95344 h 236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44923" h="236453">
                    <a:moveTo>
                      <a:pt x="93819" y="232639"/>
                    </a:moveTo>
                    <a:cubicBezTo>
                      <a:pt x="103734" y="229589"/>
                      <a:pt x="112125" y="225775"/>
                      <a:pt x="119752" y="220436"/>
                    </a:cubicBezTo>
                    <a:cubicBezTo>
                      <a:pt x="127380" y="215096"/>
                      <a:pt x="133482" y="208994"/>
                      <a:pt x="137296" y="202129"/>
                    </a:cubicBezTo>
                    <a:cubicBezTo>
                      <a:pt x="141872" y="195265"/>
                      <a:pt x="144160" y="186874"/>
                      <a:pt x="144160" y="177721"/>
                    </a:cubicBezTo>
                    <a:cubicBezTo>
                      <a:pt x="144160" y="164755"/>
                      <a:pt x="139584" y="155602"/>
                      <a:pt x="130431" y="149499"/>
                    </a:cubicBezTo>
                    <a:cubicBezTo>
                      <a:pt x="121278" y="143397"/>
                      <a:pt x="109074" y="140346"/>
                      <a:pt x="94581" y="140346"/>
                    </a:cubicBezTo>
                    <a:lnTo>
                      <a:pt x="62546" y="140346"/>
                    </a:lnTo>
                    <a:cubicBezTo>
                      <a:pt x="52630" y="140346"/>
                      <a:pt x="45765" y="138821"/>
                      <a:pt x="42714" y="136533"/>
                    </a:cubicBezTo>
                    <a:cubicBezTo>
                      <a:pt x="38900" y="134244"/>
                      <a:pt x="37375" y="131193"/>
                      <a:pt x="37375" y="128142"/>
                    </a:cubicBezTo>
                    <a:cubicBezTo>
                      <a:pt x="37375" y="125091"/>
                      <a:pt x="38138" y="122803"/>
                      <a:pt x="40426" y="121278"/>
                    </a:cubicBezTo>
                    <a:cubicBezTo>
                      <a:pt x="42714" y="118989"/>
                      <a:pt x="45002" y="117464"/>
                      <a:pt x="48816" y="116701"/>
                    </a:cubicBezTo>
                    <a:cubicBezTo>
                      <a:pt x="54918" y="118227"/>
                      <a:pt x="61783" y="118227"/>
                      <a:pt x="68648" y="118227"/>
                    </a:cubicBezTo>
                    <a:cubicBezTo>
                      <a:pt x="78564" y="118227"/>
                      <a:pt x="86954" y="117464"/>
                      <a:pt x="94581" y="115176"/>
                    </a:cubicBezTo>
                    <a:cubicBezTo>
                      <a:pt x="102209" y="112887"/>
                      <a:pt x="109074" y="109836"/>
                      <a:pt x="114413" y="106023"/>
                    </a:cubicBezTo>
                    <a:cubicBezTo>
                      <a:pt x="119752" y="102209"/>
                      <a:pt x="124329" y="96870"/>
                      <a:pt x="127380" y="90768"/>
                    </a:cubicBezTo>
                    <a:cubicBezTo>
                      <a:pt x="130431" y="84666"/>
                      <a:pt x="131956" y="78563"/>
                      <a:pt x="131956" y="70936"/>
                    </a:cubicBezTo>
                    <a:cubicBezTo>
                      <a:pt x="131956" y="63308"/>
                      <a:pt x="130431" y="57206"/>
                      <a:pt x="128143" y="52630"/>
                    </a:cubicBezTo>
                    <a:cubicBezTo>
                      <a:pt x="125092" y="47291"/>
                      <a:pt x="122040" y="43477"/>
                      <a:pt x="118227" y="40426"/>
                    </a:cubicBezTo>
                    <a:lnTo>
                      <a:pt x="149500" y="40426"/>
                    </a:lnTo>
                    <a:lnTo>
                      <a:pt x="149500" y="0"/>
                    </a:lnTo>
                    <a:lnTo>
                      <a:pt x="145686" y="0"/>
                    </a:lnTo>
                    <a:lnTo>
                      <a:pt x="113650" y="29747"/>
                    </a:lnTo>
                    <a:cubicBezTo>
                      <a:pt x="112125" y="31273"/>
                      <a:pt x="111362" y="32036"/>
                      <a:pt x="109837" y="32036"/>
                    </a:cubicBezTo>
                    <a:cubicBezTo>
                      <a:pt x="109074" y="32036"/>
                      <a:pt x="107548" y="31273"/>
                      <a:pt x="106023" y="30510"/>
                    </a:cubicBezTo>
                    <a:cubicBezTo>
                      <a:pt x="101446" y="28222"/>
                      <a:pt x="96107" y="26696"/>
                      <a:pt x="90005" y="25171"/>
                    </a:cubicBezTo>
                    <a:cubicBezTo>
                      <a:pt x="83903" y="23645"/>
                      <a:pt x="75513" y="22883"/>
                      <a:pt x="67122" y="22883"/>
                    </a:cubicBezTo>
                    <a:cubicBezTo>
                      <a:pt x="57969" y="22883"/>
                      <a:pt x="48816" y="23645"/>
                      <a:pt x="41189" y="25934"/>
                    </a:cubicBezTo>
                    <a:cubicBezTo>
                      <a:pt x="33561" y="28222"/>
                      <a:pt x="26696" y="31273"/>
                      <a:pt x="21357" y="35087"/>
                    </a:cubicBezTo>
                    <a:cubicBezTo>
                      <a:pt x="16018" y="38900"/>
                      <a:pt x="11441" y="44240"/>
                      <a:pt x="8390" y="50342"/>
                    </a:cubicBezTo>
                    <a:cubicBezTo>
                      <a:pt x="5339" y="56444"/>
                      <a:pt x="3814" y="63308"/>
                      <a:pt x="3814" y="70936"/>
                    </a:cubicBezTo>
                    <a:cubicBezTo>
                      <a:pt x="3814" y="77038"/>
                      <a:pt x="4577" y="82377"/>
                      <a:pt x="6865" y="86954"/>
                    </a:cubicBezTo>
                    <a:cubicBezTo>
                      <a:pt x="8390" y="91530"/>
                      <a:pt x="11441" y="96107"/>
                      <a:pt x="14492" y="99158"/>
                    </a:cubicBezTo>
                    <a:cubicBezTo>
                      <a:pt x="17543" y="102209"/>
                      <a:pt x="21357" y="106023"/>
                      <a:pt x="25171" y="108311"/>
                    </a:cubicBezTo>
                    <a:cubicBezTo>
                      <a:pt x="28985" y="110599"/>
                      <a:pt x="33561" y="112887"/>
                      <a:pt x="38138" y="114413"/>
                    </a:cubicBezTo>
                    <a:cubicBezTo>
                      <a:pt x="28222" y="117464"/>
                      <a:pt x="20594" y="121278"/>
                      <a:pt x="14492" y="127380"/>
                    </a:cubicBezTo>
                    <a:cubicBezTo>
                      <a:pt x="8390" y="133482"/>
                      <a:pt x="5339" y="140346"/>
                      <a:pt x="5339" y="147974"/>
                    </a:cubicBezTo>
                    <a:cubicBezTo>
                      <a:pt x="5339" y="154839"/>
                      <a:pt x="7628" y="160941"/>
                      <a:pt x="12967" y="166280"/>
                    </a:cubicBezTo>
                    <a:cubicBezTo>
                      <a:pt x="18306" y="170857"/>
                      <a:pt x="24408" y="174670"/>
                      <a:pt x="32798" y="176196"/>
                    </a:cubicBezTo>
                    <a:cubicBezTo>
                      <a:pt x="22883" y="178484"/>
                      <a:pt x="15255" y="181535"/>
                      <a:pt x="9153" y="186874"/>
                    </a:cubicBezTo>
                    <a:cubicBezTo>
                      <a:pt x="3051" y="191451"/>
                      <a:pt x="0" y="197553"/>
                      <a:pt x="0" y="204418"/>
                    </a:cubicBezTo>
                    <a:cubicBezTo>
                      <a:pt x="0" y="209757"/>
                      <a:pt x="1525" y="215096"/>
                      <a:pt x="6102" y="218910"/>
                    </a:cubicBezTo>
                    <a:cubicBezTo>
                      <a:pt x="9916" y="223486"/>
                      <a:pt x="15255" y="226538"/>
                      <a:pt x="20594" y="229589"/>
                    </a:cubicBezTo>
                    <a:cubicBezTo>
                      <a:pt x="26696" y="232639"/>
                      <a:pt x="33561" y="234165"/>
                      <a:pt x="41189" y="235691"/>
                    </a:cubicBezTo>
                    <a:cubicBezTo>
                      <a:pt x="48816" y="237216"/>
                      <a:pt x="56444" y="237979"/>
                      <a:pt x="64071" y="237979"/>
                    </a:cubicBezTo>
                    <a:cubicBezTo>
                      <a:pt x="73987" y="236453"/>
                      <a:pt x="84666" y="234928"/>
                      <a:pt x="93819" y="232639"/>
                    </a:cubicBezTo>
                    <a:moveTo>
                      <a:pt x="39663" y="215096"/>
                    </a:moveTo>
                    <a:cubicBezTo>
                      <a:pt x="32036" y="210520"/>
                      <a:pt x="28222" y="204418"/>
                      <a:pt x="28222" y="196027"/>
                    </a:cubicBezTo>
                    <a:cubicBezTo>
                      <a:pt x="28222" y="191451"/>
                      <a:pt x="29747" y="187637"/>
                      <a:pt x="32036" y="183823"/>
                    </a:cubicBezTo>
                    <a:cubicBezTo>
                      <a:pt x="34324" y="180010"/>
                      <a:pt x="37375" y="177721"/>
                      <a:pt x="41951" y="175433"/>
                    </a:cubicBezTo>
                    <a:lnTo>
                      <a:pt x="49579" y="176196"/>
                    </a:lnTo>
                    <a:lnTo>
                      <a:pt x="90005" y="177721"/>
                    </a:lnTo>
                    <a:cubicBezTo>
                      <a:pt x="99921" y="178484"/>
                      <a:pt x="106023" y="180010"/>
                      <a:pt x="109837" y="182298"/>
                    </a:cubicBezTo>
                    <a:cubicBezTo>
                      <a:pt x="113650" y="185349"/>
                      <a:pt x="115938" y="189163"/>
                      <a:pt x="115938" y="194502"/>
                    </a:cubicBezTo>
                    <a:cubicBezTo>
                      <a:pt x="115938" y="199078"/>
                      <a:pt x="114413" y="202892"/>
                      <a:pt x="112125" y="205943"/>
                    </a:cubicBezTo>
                    <a:cubicBezTo>
                      <a:pt x="109837" y="208994"/>
                      <a:pt x="106023" y="212045"/>
                      <a:pt x="102209" y="214333"/>
                    </a:cubicBezTo>
                    <a:cubicBezTo>
                      <a:pt x="97632" y="216622"/>
                      <a:pt x="93056" y="218147"/>
                      <a:pt x="87717" y="219673"/>
                    </a:cubicBezTo>
                    <a:cubicBezTo>
                      <a:pt x="82377" y="221198"/>
                      <a:pt x="76275" y="221198"/>
                      <a:pt x="70173" y="221198"/>
                    </a:cubicBezTo>
                    <a:cubicBezTo>
                      <a:pt x="57206" y="221961"/>
                      <a:pt x="47291" y="219673"/>
                      <a:pt x="39663" y="215096"/>
                    </a:cubicBezTo>
                    <a:moveTo>
                      <a:pt x="50342" y="95344"/>
                    </a:moveTo>
                    <a:cubicBezTo>
                      <a:pt x="45765" y="89242"/>
                      <a:pt x="43477" y="80089"/>
                      <a:pt x="43477" y="67885"/>
                    </a:cubicBezTo>
                    <a:cubicBezTo>
                      <a:pt x="43477" y="55681"/>
                      <a:pt x="45765" y="47291"/>
                      <a:pt x="50342" y="41951"/>
                    </a:cubicBezTo>
                    <a:cubicBezTo>
                      <a:pt x="54918" y="36612"/>
                      <a:pt x="61020" y="34324"/>
                      <a:pt x="68648" y="34324"/>
                    </a:cubicBezTo>
                    <a:cubicBezTo>
                      <a:pt x="76275" y="34324"/>
                      <a:pt x="81615" y="37375"/>
                      <a:pt x="86954" y="42714"/>
                    </a:cubicBezTo>
                    <a:cubicBezTo>
                      <a:pt x="91530" y="48053"/>
                      <a:pt x="93819" y="57206"/>
                      <a:pt x="93819" y="69410"/>
                    </a:cubicBezTo>
                    <a:cubicBezTo>
                      <a:pt x="93819" y="81615"/>
                      <a:pt x="91530" y="90768"/>
                      <a:pt x="86954" y="96870"/>
                    </a:cubicBezTo>
                    <a:cubicBezTo>
                      <a:pt x="82377" y="102972"/>
                      <a:pt x="76275" y="106023"/>
                      <a:pt x="68648" y="106023"/>
                    </a:cubicBezTo>
                    <a:cubicBezTo>
                      <a:pt x="61020" y="104497"/>
                      <a:pt x="54918" y="101446"/>
                      <a:pt x="50342" y="95344"/>
                    </a:cubicBezTo>
                  </a:path>
                </a:pathLst>
              </a:custGeom>
              <a:solidFill>
                <a:srgbClr val="E80033"/>
              </a:solidFill>
              <a:ln w="76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400" dirty="0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E0302682-CF6B-406D-ABB0-9F68292B2B98}"/>
                  </a:ext>
                </a:extLst>
              </p:cNvPr>
              <p:cNvSpPr/>
              <p:nvPr/>
            </p:nvSpPr>
            <p:spPr>
              <a:xfrm>
                <a:off x="1208215" y="6944050"/>
                <a:ext cx="144923" cy="144923"/>
              </a:xfrm>
              <a:custGeom>
                <a:avLst/>
                <a:gdLst>
                  <a:gd name="connsiteX0" fmla="*/ 106785 w 144923"/>
                  <a:gd name="connsiteY0" fmla="*/ 144160 h 144922"/>
                  <a:gd name="connsiteX1" fmla="*/ 130431 w 144923"/>
                  <a:gd name="connsiteY1" fmla="*/ 128905 h 144922"/>
                  <a:gd name="connsiteX2" fmla="*/ 145686 w 144923"/>
                  <a:gd name="connsiteY2" fmla="*/ 105260 h 144922"/>
                  <a:gd name="connsiteX3" fmla="*/ 151025 w 144923"/>
                  <a:gd name="connsiteY3" fmla="*/ 73224 h 144922"/>
                  <a:gd name="connsiteX4" fmla="*/ 145686 w 144923"/>
                  <a:gd name="connsiteY4" fmla="*/ 41951 h 144922"/>
                  <a:gd name="connsiteX5" fmla="*/ 130431 w 144923"/>
                  <a:gd name="connsiteY5" fmla="*/ 19069 h 144922"/>
                  <a:gd name="connsiteX6" fmla="*/ 106785 w 144923"/>
                  <a:gd name="connsiteY6" fmla="*/ 4577 h 144922"/>
                  <a:gd name="connsiteX7" fmla="*/ 76275 w 144923"/>
                  <a:gd name="connsiteY7" fmla="*/ 0 h 144922"/>
                  <a:gd name="connsiteX8" fmla="*/ 45002 w 144923"/>
                  <a:gd name="connsiteY8" fmla="*/ 5339 h 144922"/>
                  <a:gd name="connsiteX9" fmla="*/ 20594 w 144923"/>
                  <a:gd name="connsiteY9" fmla="*/ 20594 h 144922"/>
                  <a:gd name="connsiteX10" fmla="*/ 5339 w 144923"/>
                  <a:gd name="connsiteY10" fmla="*/ 44240 h 144922"/>
                  <a:gd name="connsiteX11" fmla="*/ 0 w 144923"/>
                  <a:gd name="connsiteY11" fmla="*/ 76275 h 144922"/>
                  <a:gd name="connsiteX12" fmla="*/ 5339 w 144923"/>
                  <a:gd name="connsiteY12" fmla="*/ 107548 h 144922"/>
                  <a:gd name="connsiteX13" fmla="*/ 20594 w 144923"/>
                  <a:gd name="connsiteY13" fmla="*/ 130431 h 144922"/>
                  <a:gd name="connsiteX14" fmla="*/ 44240 w 144923"/>
                  <a:gd name="connsiteY14" fmla="*/ 144923 h 144922"/>
                  <a:gd name="connsiteX15" fmla="*/ 74750 w 144923"/>
                  <a:gd name="connsiteY15" fmla="*/ 149500 h 144922"/>
                  <a:gd name="connsiteX16" fmla="*/ 106785 w 144923"/>
                  <a:gd name="connsiteY16" fmla="*/ 144160 h 144922"/>
                  <a:gd name="connsiteX17" fmla="*/ 54918 w 144923"/>
                  <a:gd name="connsiteY17" fmla="*/ 119752 h 144922"/>
                  <a:gd name="connsiteX18" fmla="*/ 47291 w 144923"/>
                  <a:gd name="connsiteY18" fmla="*/ 73987 h 144922"/>
                  <a:gd name="connsiteX19" fmla="*/ 54918 w 144923"/>
                  <a:gd name="connsiteY19" fmla="*/ 28985 h 144922"/>
                  <a:gd name="connsiteX20" fmla="*/ 76275 w 144923"/>
                  <a:gd name="connsiteY20" fmla="*/ 13730 h 144922"/>
                  <a:gd name="connsiteX21" fmla="*/ 98395 w 144923"/>
                  <a:gd name="connsiteY21" fmla="*/ 29747 h 144922"/>
                  <a:gd name="connsiteX22" fmla="*/ 106023 w 144923"/>
                  <a:gd name="connsiteY22" fmla="*/ 74750 h 144922"/>
                  <a:gd name="connsiteX23" fmla="*/ 99158 w 144923"/>
                  <a:gd name="connsiteY23" fmla="*/ 119752 h 144922"/>
                  <a:gd name="connsiteX24" fmla="*/ 77801 w 144923"/>
                  <a:gd name="connsiteY24" fmla="*/ 135007 h 144922"/>
                  <a:gd name="connsiteX25" fmla="*/ 54918 w 144923"/>
                  <a:gd name="connsiteY25" fmla="*/ 119752 h 144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44923" h="144922">
                    <a:moveTo>
                      <a:pt x="106785" y="144160"/>
                    </a:moveTo>
                    <a:cubicBezTo>
                      <a:pt x="115938" y="140346"/>
                      <a:pt x="124329" y="135770"/>
                      <a:pt x="130431" y="128905"/>
                    </a:cubicBezTo>
                    <a:cubicBezTo>
                      <a:pt x="137296" y="122803"/>
                      <a:pt x="142635" y="114413"/>
                      <a:pt x="145686" y="105260"/>
                    </a:cubicBezTo>
                    <a:cubicBezTo>
                      <a:pt x="149500" y="96107"/>
                      <a:pt x="151025" y="85428"/>
                      <a:pt x="151025" y="73224"/>
                    </a:cubicBezTo>
                    <a:cubicBezTo>
                      <a:pt x="151025" y="61783"/>
                      <a:pt x="149500" y="51104"/>
                      <a:pt x="145686" y="41951"/>
                    </a:cubicBezTo>
                    <a:cubicBezTo>
                      <a:pt x="141872" y="32798"/>
                      <a:pt x="137296" y="25171"/>
                      <a:pt x="130431" y="19069"/>
                    </a:cubicBezTo>
                    <a:cubicBezTo>
                      <a:pt x="123566" y="12967"/>
                      <a:pt x="115938" y="8390"/>
                      <a:pt x="106785" y="4577"/>
                    </a:cubicBezTo>
                    <a:cubicBezTo>
                      <a:pt x="97632" y="1525"/>
                      <a:pt x="87717" y="0"/>
                      <a:pt x="76275" y="0"/>
                    </a:cubicBezTo>
                    <a:cubicBezTo>
                      <a:pt x="64834" y="0"/>
                      <a:pt x="54918" y="1525"/>
                      <a:pt x="45002" y="5339"/>
                    </a:cubicBezTo>
                    <a:cubicBezTo>
                      <a:pt x="35849" y="9153"/>
                      <a:pt x="27459" y="13730"/>
                      <a:pt x="20594" y="20594"/>
                    </a:cubicBezTo>
                    <a:cubicBezTo>
                      <a:pt x="13730" y="26696"/>
                      <a:pt x="8390" y="35087"/>
                      <a:pt x="5339" y="44240"/>
                    </a:cubicBezTo>
                    <a:cubicBezTo>
                      <a:pt x="1526" y="53393"/>
                      <a:pt x="0" y="64071"/>
                      <a:pt x="0" y="76275"/>
                    </a:cubicBezTo>
                    <a:cubicBezTo>
                      <a:pt x="0" y="87717"/>
                      <a:pt x="1526" y="98395"/>
                      <a:pt x="5339" y="107548"/>
                    </a:cubicBezTo>
                    <a:cubicBezTo>
                      <a:pt x="9153" y="116701"/>
                      <a:pt x="13730" y="124329"/>
                      <a:pt x="20594" y="130431"/>
                    </a:cubicBezTo>
                    <a:cubicBezTo>
                      <a:pt x="27459" y="136533"/>
                      <a:pt x="35087" y="141109"/>
                      <a:pt x="44240" y="144923"/>
                    </a:cubicBezTo>
                    <a:cubicBezTo>
                      <a:pt x="53393" y="147974"/>
                      <a:pt x="63309" y="149500"/>
                      <a:pt x="74750" y="149500"/>
                    </a:cubicBezTo>
                    <a:cubicBezTo>
                      <a:pt x="87717" y="149500"/>
                      <a:pt x="97632" y="147974"/>
                      <a:pt x="106785" y="144160"/>
                    </a:cubicBezTo>
                    <a:moveTo>
                      <a:pt x="54918" y="119752"/>
                    </a:moveTo>
                    <a:cubicBezTo>
                      <a:pt x="49579" y="109074"/>
                      <a:pt x="47291" y="93819"/>
                      <a:pt x="47291" y="73987"/>
                    </a:cubicBezTo>
                    <a:cubicBezTo>
                      <a:pt x="47291" y="54155"/>
                      <a:pt x="49579" y="39663"/>
                      <a:pt x="54918" y="28985"/>
                    </a:cubicBezTo>
                    <a:cubicBezTo>
                      <a:pt x="59495" y="19069"/>
                      <a:pt x="67122" y="13730"/>
                      <a:pt x="76275" y="13730"/>
                    </a:cubicBezTo>
                    <a:cubicBezTo>
                      <a:pt x="86191" y="13730"/>
                      <a:pt x="93819" y="19069"/>
                      <a:pt x="98395" y="29747"/>
                    </a:cubicBezTo>
                    <a:cubicBezTo>
                      <a:pt x="103734" y="40426"/>
                      <a:pt x="106023" y="55681"/>
                      <a:pt x="106023" y="74750"/>
                    </a:cubicBezTo>
                    <a:cubicBezTo>
                      <a:pt x="106023" y="93819"/>
                      <a:pt x="103734" y="109074"/>
                      <a:pt x="99158" y="119752"/>
                    </a:cubicBezTo>
                    <a:cubicBezTo>
                      <a:pt x="94581" y="130431"/>
                      <a:pt x="86954" y="135007"/>
                      <a:pt x="77801" y="135007"/>
                    </a:cubicBezTo>
                    <a:cubicBezTo>
                      <a:pt x="67885" y="135770"/>
                      <a:pt x="60257" y="130431"/>
                      <a:pt x="54918" y="119752"/>
                    </a:cubicBezTo>
                  </a:path>
                </a:pathLst>
              </a:custGeom>
              <a:solidFill>
                <a:srgbClr val="E80033"/>
              </a:solidFill>
              <a:ln w="76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400" dirty="0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B6DAE91A-0125-4868-9AE1-219A20848D3B}"/>
                  </a:ext>
                </a:extLst>
              </p:cNvPr>
              <p:cNvSpPr/>
              <p:nvPr/>
            </p:nvSpPr>
            <p:spPr>
              <a:xfrm>
                <a:off x="1035833" y="6886843"/>
                <a:ext cx="175433" cy="198316"/>
              </a:xfrm>
              <a:custGeom>
                <a:avLst/>
                <a:gdLst>
                  <a:gd name="connsiteX0" fmla="*/ 180772 w 175433"/>
                  <a:gd name="connsiteY0" fmla="*/ 0 h 198315"/>
                  <a:gd name="connsiteX1" fmla="*/ 0 w 175433"/>
                  <a:gd name="connsiteY1" fmla="*/ 0 h 198315"/>
                  <a:gd name="connsiteX2" fmla="*/ 0 w 175433"/>
                  <a:gd name="connsiteY2" fmla="*/ 66359 h 198315"/>
                  <a:gd name="connsiteX3" fmla="*/ 3814 w 175433"/>
                  <a:gd name="connsiteY3" fmla="*/ 66359 h 198315"/>
                  <a:gd name="connsiteX4" fmla="*/ 35087 w 175433"/>
                  <a:gd name="connsiteY4" fmla="*/ 18306 h 198315"/>
                  <a:gd name="connsiteX5" fmla="*/ 38900 w 175433"/>
                  <a:gd name="connsiteY5" fmla="*/ 14492 h 198315"/>
                  <a:gd name="connsiteX6" fmla="*/ 43477 w 175433"/>
                  <a:gd name="connsiteY6" fmla="*/ 13730 h 198315"/>
                  <a:gd name="connsiteX7" fmla="*/ 66360 w 175433"/>
                  <a:gd name="connsiteY7" fmla="*/ 13730 h 198315"/>
                  <a:gd name="connsiteX8" fmla="*/ 66360 w 175433"/>
                  <a:gd name="connsiteY8" fmla="*/ 175433 h 198315"/>
                  <a:gd name="connsiteX9" fmla="*/ 65597 w 175433"/>
                  <a:gd name="connsiteY9" fmla="*/ 178484 h 198315"/>
                  <a:gd name="connsiteX10" fmla="*/ 63309 w 175433"/>
                  <a:gd name="connsiteY10" fmla="*/ 180772 h 198315"/>
                  <a:gd name="connsiteX11" fmla="*/ 41951 w 175433"/>
                  <a:gd name="connsiteY11" fmla="*/ 198316 h 198315"/>
                  <a:gd name="connsiteX12" fmla="*/ 41951 w 175433"/>
                  <a:gd name="connsiteY12" fmla="*/ 202892 h 198315"/>
                  <a:gd name="connsiteX13" fmla="*/ 137296 w 175433"/>
                  <a:gd name="connsiteY13" fmla="*/ 202892 h 198315"/>
                  <a:gd name="connsiteX14" fmla="*/ 137296 w 175433"/>
                  <a:gd name="connsiteY14" fmla="*/ 198316 h 198315"/>
                  <a:gd name="connsiteX15" fmla="*/ 115938 w 175433"/>
                  <a:gd name="connsiteY15" fmla="*/ 180772 h 198315"/>
                  <a:gd name="connsiteX16" fmla="*/ 113650 w 175433"/>
                  <a:gd name="connsiteY16" fmla="*/ 178484 h 198315"/>
                  <a:gd name="connsiteX17" fmla="*/ 112887 w 175433"/>
                  <a:gd name="connsiteY17" fmla="*/ 175433 h 198315"/>
                  <a:gd name="connsiteX18" fmla="*/ 112887 w 175433"/>
                  <a:gd name="connsiteY18" fmla="*/ 12967 h 198315"/>
                  <a:gd name="connsiteX19" fmla="*/ 135770 w 175433"/>
                  <a:gd name="connsiteY19" fmla="*/ 12967 h 198315"/>
                  <a:gd name="connsiteX20" fmla="*/ 140347 w 175433"/>
                  <a:gd name="connsiteY20" fmla="*/ 13730 h 198315"/>
                  <a:gd name="connsiteX21" fmla="*/ 144160 w 175433"/>
                  <a:gd name="connsiteY21" fmla="*/ 17543 h 198315"/>
                  <a:gd name="connsiteX22" fmla="*/ 175433 w 175433"/>
                  <a:gd name="connsiteY22" fmla="*/ 65597 h 198315"/>
                  <a:gd name="connsiteX23" fmla="*/ 180010 w 175433"/>
                  <a:gd name="connsiteY23" fmla="*/ 65597 h 198315"/>
                  <a:gd name="connsiteX24" fmla="*/ 180010 w 175433"/>
                  <a:gd name="connsiteY24" fmla="*/ 0 h 198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75433" h="198315">
                    <a:moveTo>
                      <a:pt x="180772" y="0"/>
                    </a:moveTo>
                    <a:lnTo>
                      <a:pt x="0" y="0"/>
                    </a:lnTo>
                    <a:lnTo>
                      <a:pt x="0" y="66359"/>
                    </a:lnTo>
                    <a:lnTo>
                      <a:pt x="3814" y="66359"/>
                    </a:lnTo>
                    <a:lnTo>
                      <a:pt x="35087" y="18306"/>
                    </a:lnTo>
                    <a:cubicBezTo>
                      <a:pt x="36612" y="16018"/>
                      <a:pt x="38138" y="14492"/>
                      <a:pt x="38900" y="14492"/>
                    </a:cubicBezTo>
                    <a:cubicBezTo>
                      <a:pt x="39663" y="13730"/>
                      <a:pt x="41189" y="13730"/>
                      <a:pt x="43477" y="13730"/>
                    </a:cubicBezTo>
                    <a:lnTo>
                      <a:pt x="66360" y="13730"/>
                    </a:lnTo>
                    <a:lnTo>
                      <a:pt x="66360" y="175433"/>
                    </a:lnTo>
                    <a:cubicBezTo>
                      <a:pt x="66360" y="176959"/>
                      <a:pt x="66360" y="177721"/>
                      <a:pt x="65597" y="178484"/>
                    </a:cubicBezTo>
                    <a:cubicBezTo>
                      <a:pt x="65597" y="179247"/>
                      <a:pt x="64834" y="180010"/>
                      <a:pt x="63309" y="180772"/>
                    </a:cubicBezTo>
                    <a:lnTo>
                      <a:pt x="41951" y="198316"/>
                    </a:lnTo>
                    <a:lnTo>
                      <a:pt x="41951" y="202892"/>
                    </a:lnTo>
                    <a:lnTo>
                      <a:pt x="137296" y="202892"/>
                    </a:lnTo>
                    <a:lnTo>
                      <a:pt x="137296" y="198316"/>
                    </a:lnTo>
                    <a:lnTo>
                      <a:pt x="115938" y="180772"/>
                    </a:lnTo>
                    <a:cubicBezTo>
                      <a:pt x="114413" y="180010"/>
                      <a:pt x="114413" y="179247"/>
                      <a:pt x="113650" y="178484"/>
                    </a:cubicBezTo>
                    <a:cubicBezTo>
                      <a:pt x="113650" y="177721"/>
                      <a:pt x="112887" y="176959"/>
                      <a:pt x="112887" y="175433"/>
                    </a:cubicBezTo>
                    <a:lnTo>
                      <a:pt x="112887" y="12967"/>
                    </a:lnTo>
                    <a:lnTo>
                      <a:pt x="135770" y="12967"/>
                    </a:lnTo>
                    <a:cubicBezTo>
                      <a:pt x="138058" y="12967"/>
                      <a:pt x="139584" y="12967"/>
                      <a:pt x="140347" y="13730"/>
                    </a:cubicBezTo>
                    <a:cubicBezTo>
                      <a:pt x="141109" y="14492"/>
                      <a:pt x="142635" y="15255"/>
                      <a:pt x="144160" y="17543"/>
                    </a:cubicBezTo>
                    <a:lnTo>
                      <a:pt x="175433" y="65597"/>
                    </a:lnTo>
                    <a:lnTo>
                      <a:pt x="180010" y="65597"/>
                    </a:lnTo>
                    <a:lnTo>
                      <a:pt x="180010" y="0"/>
                    </a:lnTo>
                    <a:close/>
                  </a:path>
                </a:pathLst>
              </a:custGeom>
              <a:solidFill>
                <a:srgbClr val="E80033"/>
              </a:solidFill>
              <a:ln w="76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400" dirty="0"/>
              </a:p>
            </p:txBody>
          </p:sp>
        </p:grp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9E2035A-8141-4FD3-B5C9-0037528C8C17}"/>
                </a:ext>
              </a:extLst>
            </p:cNvPr>
            <p:cNvSpPr/>
            <p:nvPr/>
          </p:nvSpPr>
          <p:spPr>
            <a:xfrm>
              <a:off x="2231067" y="6911251"/>
              <a:ext cx="22883" cy="30510"/>
            </a:xfrm>
            <a:custGeom>
              <a:avLst/>
              <a:gdLst>
                <a:gd name="connsiteX0" fmla="*/ 18306 w 22882"/>
                <a:gd name="connsiteY0" fmla="*/ 5339 h 30510"/>
                <a:gd name="connsiteX1" fmla="*/ 18306 w 22882"/>
                <a:gd name="connsiteY1" fmla="*/ 35849 h 30510"/>
                <a:gd name="connsiteX2" fmla="*/ 12204 w 22882"/>
                <a:gd name="connsiteY2" fmla="*/ 35849 h 30510"/>
                <a:gd name="connsiteX3" fmla="*/ 12204 w 22882"/>
                <a:gd name="connsiteY3" fmla="*/ 5339 h 30510"/>
                <a:gd name="connsiteX4" fmla="*/ 0 w 22882"/>
                <a:gd name="connsiteY4" fmla="*/ 5339 h 30510"/>
                <a:gd name="connsiteX5" fmla="*/ 0 w 22882"/>
                <a:gd name="connsiteY5" fmla="*/ 0 h 30510"/>
                <a:gd name="connsiteX6" fmla="*/ 29747 w 22882"/>
                <a:gd name="connsiteY6" fmla="*/ 0 h 30510"/>
                <a:gd name="connsiteX7" fmla="*/ 29747 w 22882"/>
                <a:gd name="connsiteY7" fmla="*/ 5339 h 30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882" h="30510">
                  <a:moveTo>
                    <a:pt x="18306" y="5339"/>
                  </a:moveTo>
                  <a:lnTo>
                    <a:pt x="18306" y="35849"/>
                  </a:lnTo>
                  <a:lnTo>
                    <a:pt x="12204" y="35849"/>
                  </a:lnTo>
                  <a:lnTo>
                    <a:pt x="12204" y="5339"/>
                  </a:lnTo>
                  <a:lnTo>
                    <a:pt x="0" y="5339"/>
                  </a:lnTo>
                  <a:lnTo>
                    <a:pt x="0" y="0"/>
                  </a:lnTo>
                  <a:lnTo>
                    <a:pt x="29747" y="0"/>
                  </a:lnTo>
                  <a:lnTo>
                    <a:pt x="29747" y="5339"/>
                  </a:lnTo>
                  <a:close/>
                </a:path>
              </a:pathLst>
            </a:custGeom>
            <a:solidFill>
              <a:srgbClr val="E80033"/>
            </a:solidFill>
            <a:ln w="76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400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C490FBE-5BF0-4AA0-9F54-30533AB793F1}"/>
                </a:ext>
              </a:extLst>
            </p:cNvPr>
            <p:cNvSpPr/>
            <p:nvPr/>
          </p:nvSpPr>
          <p:spPr>
            <a:xfrm>
              <a:off x="2264628" y="6911251"/>
              <a:ext cx="38138" cy="30510"/>
            </a:xfrm>
            <a:custGeom>
              <a:avLst/>
              <a:gdLst>
                <a:gd name="connsiteX0" fmla="*/ 34324 w 38137"/>
                <a:gd name="connsiteY0" fmla="*/ 35849 h 30510"/>
                <a:gd name="connsiteX1" fmla="*/ 34324 w 38137"/>
                <a:gd name="connsiteY1" fmla="*/ 17543 h 30510"/>
                <a:gd name="connsiteX2" fmla="*/ 34324 w 38137"/>
                <a:gd name="connsiteY2" fmla="*/ 3814 h 30510"/>
                <a:gd name="connsiteX3" fmla="*/ 34324 w 38137"/>
                <a:gd name="connsiteY3" fmla="*/ 3814 h 30510"/>
                <a:gd name="connsiteX4" fmla="*/ 29747 w 38137"/>
                <a:gd name="connsiteY4" fmla="*/ 17543 h 30510"/>
                <a:gd name="connsiteX5" fmla="*/ 23645 w 38137"/>
                <a:gd name="connsiteY5" fmla="*/ 35849 h 30510"/>
                <a:gd name="connsiteX6" fmla="*/ 16781 w 38137"/>
                <a:gd name="connsiteY6" fmla="*/ 35849 h 30510"/>
                <a:gd name="connsiteX7" fmla="*/ 10679 w 38137"/>
                <a:gd name="connsiteY7" fmla="*/ 17543 h 30510"/>
                <a:gd name="connsiteX8" fmla="*/ 6102 w 38137"/>
                <a:gd name="connsiteY8" fmla="*/ 3814 h 30510"/>
                <a:gd name="connsiteX9" fmla="*/ 6102 w 38137"/>
                <a:gd name="connsiteY9" fmla="*/ 3814 h 30510"/>
                <a:gd name="connsiteX10" fmla="*/ 6102 w 38137"/>
                <a:gd name="connsiteY10" fmla="*/ 17543 h 30510"/>
                <a:gd name="connsiteX11" fmla="*/ 6102 w 38137"/>
                <a:gd name="connsiteY11" fmla="*/ 35849 h 30510"/>
                <a:gd name="connsiteX12" fmla="*/ 0 w 38137"/>
                <a:gd name="connsiteY12" fmla="*/ 35849 h 30510"/>
                <a:gd name="connsiteX13" fmla="*/ 0 w 38137"/>
                <a:gd name="connsiteY13" fmla="*/ 0 h 30510"/>
                <a:gd name="connsiteX14" fmla="*/ 9916 w 38137"/>
                <a:gd name="connsiteY14" fmla="*/ 0 h 30510"/>
                <a:gd name="connsiteX15" fmla="*/ 16018 w 38137"/>
                <a:gd name="connsiteY15" fmla="*/ 16781 h 30510"/>
                <a:gd name="connsiteX16" fmla="*/ 19832 w 38137"/>
                <a:gd name="connsiteY16" fmla="*/ 30510 h 30510"/>
                <a:gd name="connsiteX17" fmla="*/ 19832 w 38137"/>
                <a:gd name="connsiteY17" fmla="*/ 30510 h 30510"/>
                <a:gd name="connsiteX18" fmla="*/ 24408 w 38137"/>
                <a:gd name="connsiteY18" fmla="*/ 16781 h 30510"/>
                <a:gd name="connsiteX19" fmla="*/ 30510 w 38137"/>
                <a:gd name="connsiteY19" fmla="*/ 0 h 30510"/>
                <a:gd name="connsiteX20" fmla="*/ 40426 w 38137"/>
                <a:gd name="connsiteY20" fmla="*/ 0 h 30510"/>
                <a:gd name="connsiteX21" fmla="*/ 40426 w 38137"/>
                <a:gd name="connsiteY21" fmla="*/ 35849 h 30510"/>
                <a:gd name="connsiteX22" fmla="*/ 34324 w 38137"/>
                <a:gd name="connsiteY22" fmla="*/ 35849 h 30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8137" h="30510">
                  <a:moveTo>
                    <a:pt x="34324" y="35849"/>
                  </a:moveTo>
                  <a:lnTo>
                    <a:pt x="34324" y="17543"/>
                  </a:lnTo>
                  <a:cubicBezTo>
                    <a:pt x="34324" y="12204"/>
                    <a:pt x="34324" y="7628"/>
                    <a:pt x="34324" y="3814"/>
                  </a:cubicBezTo>
                  <a:lnTo>
                    <a:pt x="34324" y="3814"/>
                  </a:lnTo>
                  <a:cubicBezTo>
                    <a:pt x="32798" y="7628"/>
                    <a:pt x="32036" y="12204"/>
                    <a:pt x="29747" y="17543"/>
                  </a:cubicBezTo>
                  <a:lnTo>
                    <a:pt x="23645" y="35849"/>
                  </a:lnTo>
                  <a:lnTo>
                    <a:pt x="16781" y="35849"/>
                  </a:lnTo>
                  <a:lnTo>
                    <a:pt x="10679" y="17543"/>
                  </a:lnTo>
                  <a:cubicBezTo>
                    <a:pt x="9153" y="12204"/>
                    <a:pt x="7628" y="7628"/>
                    <a:pt x="6102" y="3814"/>
                  </a:cubicBezTo>
                  <a:lnTo>
                    <a:pt x="6102" y="3814"/>
                  </a:lnTo>
                  <a:cubicBezTo>
                    <a:pt x="6102" y="7628"/>
                    <a:pt x="6102" y="12204"/>
                    <a:pt x="6102" y="17543"/>
                  </a:cubicBezTo>
                  <a:lnTo>
                    <a:pt x="6102" y="35849"/>
                  </a:lnTo>
                  <a:lnTo>
                    <a:pt x="0" y="35849"/>
                  </a:lnTo>
                  <a:lnTo>
                    <a:pt x="0" y="0"/>
                  </a:lnTo>
                  <a:lnTo>
                    <a:pt x="9916" y="0"/>
                  </a:lnTo>
                  <a:lnTo>
                    <a:pt x="16018" y="16781"/>
                  </a:lnTo>
                  <a:cubicBezTo>
                    <a:pt x="17543" y="21357"/>
                    <a:pt x="19069" y="25934"/>
                    <a:pt x="19832" y="30510"/>
                  </a:cubicBezTo>
                  <a:lnTo>
                    <a:pt x="19832" y="30510"/>
                  </a:lnTo>
                  <a:cubicBezTo>
                    <a:pt x="21357" y="25934"/>
                    <a:pt x="22883" y="21357"/>
                    <a:pt x="24408" y="16781"/>
                  </a:cubicBezTo>
                  <a:lnTo>
                    <a:pt x="30510" y="0"/>
                  </a:lnTo>
                  <a:lnTo>
                    <a:pt x="40426" y="0"/>
                  </a:lnTo>
                  <a:lnTo>
                    <a:pt x="40426" y="35849"/>
                  </a:lnTo>
                  <a:lnTo>
                    <a:pt x="34324" y="35849"/>
                  </a:lnTo>
                  <a:close/>
                </a:path>
              </a:pathLst>
            </a:custGeom>
            <a:solidFill>
              <a:srgbClr val="E80033"/>
            </a:solidFill>
            <a:ln w="76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400" dirty="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06E5949-0CA5-4BB7-9D66-A3E97E615476}"/>
              </a:ext>
            </a:extLst>
          </p:cNvPr>
          <p:cNvGrpSpPr/>
          <p:nvPr userDrawn="1"/>
        </p:nvGrpSpPr>
        <p:grpSpPr>
          <a:xfrm>
            <a:off x="374652" y="5969953"/>
            <a:ext cx="1853491" cy="610203"/>
            <a:chOff x="371475" y="5971540"/>
            <a:chExt cx="1853490" cy="610202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3DA41D5-1477-4217-8EB5-0DBBDA8A6749}"/>
                </a:ext>
              </a:extLst>
            </p:cNvPr>
            <p:cNvSpPr/>
            <p:nvPr/>
          </p:nvSpPr>
          <p:spPr>
            <a:xfrm>
              <a:off x="371475" y="5971540"/>
              <a:ext cx="1853490" cy="610202"/>
            </a:xfrm>
            <a:custGeom>
              <a:avLst/>
              <a:gdLst>
                <a:gd name="connsiteX0" fmla="*/ 926745 w 1853489"/>
                <a:gd name="connsiteY0" fmla="*/ 0 h 610202"/>
                <a:gd name="connsiteX1" fmla="*/ 0 w 1853489"/>
                <a:gd name="connsiteY1" fmla="*/ 303576 h 610202"/>
                <a:gd name="connsiteX2" fmla="*/ 926745 w 1853489"/>
                <a:gd name="connsiteY2" fmla="*/ 610202 h 610202"/>
                <a:gd name="connsiteX3" fmla="*/ 1855015 w 1853489"/>
                <a:gd name="connsiteY3" fmla="*/ 302813 h 610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3489" h="610202">
                  <a:moveTo>
                    <a:pt x="926745" y="0"/>
                  </a:moveTo>
                  <a:lnTo>
                    <a:pt x="0" y="303576"/>
                  </a:lnTo>
                  <a:lnTo>
                    <a:pt x="926745" y="610202"/>
                  </a:lnTo>
                  <a:lnTo>
                    <a:pt x="1855015" y="302813"/>
                  </a:lnTo>
                  <a:close/>
                </a:path>
              </a:pathLst>
            </a:custGeom>
            <a:solidFill>
              <a:srgbClr val="E80033"/>
            </a:solidFill>
            <a:ln w="76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400" dirty="0"/>
            </a:p>
          </p:txBody>
        </p:sp>
        <p:grpSp>
          <p:nvGrpSpPr>
            <p:cNvPr id="27" name="Graphic 7">
              <a:extLst>
                <a:ext uri="{FF2B5EF4-FFF2-40B4-BE49-F238E27FC236}">
                  <a16:creationId xmlns:a16="http://schemas.microsoft.com/office/drawing/2014/main" id="{2E8F0EE4-EE2F-447B-BB04-3BC8EAB9C7BD}"/>
                </a:ext>
              </a:extLst>
            </p:cNvPr>
            <p:cNvGrpSpPr/>
            <p:nvPr/>
          </p:nvGrpSpPr>
          <p:grpSpPr>
            <a:xfrm>
              <a:off x="829890" y="6151550"/>
              <a:ext cx="1014461" cy="411886"/>
              <a:chOff x="829890" y="6151550"/>
              <a:chExt cx="1014461" cy="411886"/>
            </a:xfrm>
            <a:solidFill>
              <a:schemeClr val="accent1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F62171F-0B52-4726-96B6-02C047E65AD1}"/>
                  </a:ext>
                </a:extLst>
              </p:cNvPr>
              <p:cNvSpPr/>
              <p:nvPr/>
            </p:nvSpPr>
            <p:spPr>
              <a:xfrm>
                <a:off x="1164738" y="6181297"/>
                <a:ext cx="266964" cy="221198"/>
              </a:xfrm>
              <a:custGeom>
                <a:avLst/>
                <a:gdLst>
                  <a:gd name="connsiteX0" fmla="*/ 133482 w 266963"/>
                  <a:gd name="connsiteY0" fmla="*/ 167806 h 221198"/>
                  <a:gd name="connsiteX1" fmla="*/ 62546 w 266963"/>
                  <a:gd name="connsiteY1" fmla="*/ 113650 h 221198"/>
                  <a:gd name="connsiteX2" fmla="*/ 134245 w 266963"/>
                  <a:gd name="connsiteY2" fmla="*/ 57969 h 221198"/>
                  <a:gd name="connsiteX3" fmla="*/ 205181 w 266963"/>
                  <a:gd name="connsiteY3" fmla="*/ 113650 h 221198"/>
                  <a:gd name="connsiteX4" fmla="*/ 133482 w 266963"/>
                  <a:gd name="connsiteY4" fmla="*/ 167806 h 221198"/>
                  <a:gd name="connsiteX5" fmla="*/ 134245 w 266963"/>
                  <a:gd name="connsiteY5" fmla="*/ 0 h 221198"/>
                  <a:gd name="connsiteX6" fmla="*/ 0 w 266963"/>
                  <a:gd name="connsiteY6" fmla="*/ 113650 h 221198"/>
                  <a:gd name="connsiteX7" fmla="*/ 133482 w 266963"/>
                  <a:gd name="connsiteY7" fmla="*/ 224249 h 221198"/>
                  <a:gd name="connsiteX8" fmla="*/ 268489 w 266963"/>
                  <a:gd name="connsiteY8" fmla="*/ 113650 h 221198"/>
                  <a:gd name="connsiteX9" fmla="*/ 134245 w 266963"/>
                  <a:gd name="connsiteY9" fmla="*/ 0 h 221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66963" h="221198">
                    <a:moveTo>
                      <a:pt x="133482" y="167806"/>
                    </a:moveTo>
                    <a:cubicBezTo>
                      <a:pt x="94581" y="168568"/>
                      <a:pt x="62546" y="147974"/>
                      <a:pt x="62546" y="113650"/>
                    </a:cubicBezTo>
                    <a:cubicBezTo>
                      <a:pt x="62546" y="80089"/>
                      <a:pt x="93056" y="57969"/>
                      <a:pt x="134245" y="57969"/>
                    </a:cubicBezTo>
                    <a:cubicBezTo>
                      <a:pt x="173908" y="57969"/>
                      <a:pt x="205943" y="80852"/>
                      <a:pt x="205181" y="113650"/>
                    </a:cubicBezTo>
                    <a:cubicBezTo>
                      <a:pt x="204418" y="147974"/>
                      <a:pt x="173145" y="167806"/>
                      <a:pt x="133482" y="167806"/>
                    </a:cubicBezTo>
                    <a:moveTo>
                      <a:pt x="134245" y="0"/>
                    </a:moveTo>
                    <a:cubicBezTo>
                      <a:pt x="57969" y="0"/>
                      <a:pt x="0" y="45002"/>
                      <a:pt x="0" y="113650"/>
                    </a:cubicBezTo>
                    <a:cubicBezTo>
                      <a:pt x="0" y="183823"/>
                      <a:pt x="59495" y="225012"/>
                      <a:pt x="133482" y="224249"/>
                    </a:cubicBezTo>
                    <a:cubicBezTo>
                      <a:pt x="207469" y="224249"/>
                      <a:pt x="267726" y="183823"/>
                      <a:pt x="268489" y="113650"/>
                    </a:cubicBezTo>
                    <a:cubicBezTo>
                      <a:pt x="269252" y="45765"/>
                      <a:pt x="209757" y="0"/>
                      <a:pt x="134245" y="0"/>
                    </a:cubicBezTo>
                  </a:path>
                </a:pathLst>
              </a:custGeom>
              <a:solidFill>
                <a:srgbClr val="FFFFFF"/>
              </a:solidFill>
              <a:ln w="76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400" dirty="0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156BCFD7-870A-437C-8068-ACE1BE8B0D55}"/>
                  </a:ext>
                </a:extLst>
              </p:cNvPr>
              <p:cNvSpPr/>
              <p:nvPr/>
            </p:nvSpPr>
            <p:spPr>
              <a:xfrm>
                <a:off x="1430939" y="6199603"/>
                <a:ext cx="411887" cy="198316"/>
              </a:xfrm>
              <a:custGeom>
                <a:avLst/>
                <a:gdLst>
                  <a:gd name="connsiteX0" fmla="*/ 0 w 411886"/>
                  <a:gd name="connsiteY0" fmla="*/ 0 h 198315"/>
                  <a:gd name="connsiteX1" fmla="*/ 113650 w 411886"/>
                  <a:gd name="connsiteY1" fmla="*/ 0 h 198315"/>
                  <a:gd name="connsiteX2" fmla="*/ 113650 w 411886"/>
                  <a:gd name="connsiteY2" fmla="*/ 15255 h 198315"/>
                  <a:gd name="connsiteX3" fmla="*/ 108311 w 411886"/>
                  <a:gd name="connsiteY3" fmla="*/ 15255 h 198315"/>
                  <a:gd name="connsiteX4" fmla="*/ 95344 w 411886"/>
                  <a:gd name="connsiteY4" fmla="*/ 24408 h 198315"/>
                  <a:gd name="connsiteX5" fmla="*/ 95344 w 411886"/>
                  <a:gd name="connsiteY5" fmla="*/ 38900 h 198315"/>
                  <a:gd name="connsiteX6" fmla="*/ 129668 w 411886"/>
                  <a:gd name="connsiteY6" fmla="*/ 120515 h 198315"/>
                  <a:gd name="connsiteX7" fmla="*/ 176196 w 411886"/>
                  <a:gd name="connsiteY7" fmla="*/ 0 h 198315"/>
                  <a:gd name="connsiteX8" fmla="*/ 237979 w 411886"/>
                  <a:gd name="connsiteY8" fmla="*/ 0 h 198315"/>
                  <a:gd name="connsiteX9" fmla="*/ 286032 w 411886"/>
                  <a:gd name="connsiteY9" fmla="*/ 119752 h 198315"/>
                  <a:gd name="connsiteX10" fmla="*/ 321882 w 411886"/>
                  <a:gd name="connsiteY10" fmla="*/ 34324 h 198315"/>
                  <a:gd name="connsiteX11" fmla="*/ 319594 w 411886"/>
                  <a:gd name="connsiteY11" fmla="*/ 22120 h 198315"/>
                  <a:gd name="connsiteX12" fmla="*/ 308152 w 411886"/>
                  <a:gd name="connsiteY12" fmla="*/ 15255 h 198315"/>
                  <a:gd name="connsiteX13" fmla="*/ 301287 w 411886"/>
                  <a:gd name="connsiteY13" fmla="*/ 15255 h 198315"/>
                  <a:gd name="connsiteX14" fmla="*/ 301287 w 411886"/>
                  <a:gd name="connsiteY14" fmla="*/ 0 h 198315"/>
                  <a:gd name="connsiteX15" fmla="*/ 414175 w 411886"/>
                  <a:gd name="connsiteY15" fmla="*/ 0 h 198315"/>
                  <a:gd name="connsiteX16" fmla="*/ 414175 w 411886"/>
                  <a:gd name="connsiteY16" fmla="*/ 15255 h 198315"/>
                  <a:gd name="connsiteX17" fmla="*/ 405785 w 411886"/>
                  <a:gd name="connsiteY17" fmla="*/ 15255 h 198315"/>
                  <a:gd name="connsiteX18" fmla="*/ 389004 w 411886"/>
                  <a:gd name="connsiteY18" fmla="*/ 22120 h 198315"/>
                  <a:gd name="connsiteX19" fmla="*/ 378326 w 411886"/>
                  <a:gd name="connsiteY19" fmla="*/ 35849 h 198315"/>
                  <a:gd name="connsiteX20" fmla="*/ 324170 w 411886"/>
                  <a:gd name="connsiteY20" fmla="*/ 168568 h 198315"/>
                  <a:gd name="connsiteX21" fmla="*/ 323407 w 411886"/>
                  <a:gd name="connsiteY21" fmla="*/ 182298 h 198315"/>
                  <a:gd name="connsiteX22" fmla="*/ 334086 w 411886"/>
                  <a:gd name="connsiteY22" fmla="*/ 187637 h 198315"/>
                  <a:gd name="connsiteX23" fmla="*/ 342476 w 411886"/>
                  <a:gd name="connsiteY23" fmla="*/ 187637 h 198315"/>
                  <a:gd name="connsiteX24" fmla="*/ 342476 w 411886"/>
                  <a:gd name="connsiteY24" fmla="*/ 202129 h 198315"/>
                  <a:gd name="connsiteX25" fmla="*/ 231877 w 411886"/>
                  <a:gd name="connsiteY25" fmla="*/ 202129 h 198315"/>
                  <a:gd name="connsiteX26" fmla="*/ 231877 w 411886"/>
                  <a:gd name="connsiteY26" fmla="*/ 187637 h 198315"/>
                  <a:gd name="connsiteX27" fmla="*/ 239505 w 411886"/>
                  <a:gd name="connsiteY27" fmla="*/ 187637 h 198315"/>
                  <a:gd name="connsiteX28" fmla="*/ 247132 w 411886"/>
                  <a:gd name="connsiteY28" fmla="*/ 181535 h 198315"/>
                  <a:gd name="connsiteX29" fmla="*/ 246369 w 411886"/>
                  <a:gd name="connsiteY29" fmla="*/ 170857 h 198315"/>
                  <a:gd name="connsiteX30" fmla="*/ 205943 w 411886"/>
                  <a:gd name="connsiteY30" fmla="*/ 74750 h 198315"/>
                  <a:gd name="connsiteX31" fmla="*/ 166280 w 411886"/>
                  <a:gd name="connsiteY31" fmla="*/ 169331 h 198315"/>
                  <a:gd name="connsiteX32" fmla="*/ 165517 w 411886"/>
                  <a:gd name="connsiteY32" fmla="*/ 182298 h 198315"/>
                  <a:gd name="connsiteX33" fmla="*/ 173908 w 411886"/>
                  <a:gd name="connsiteY33" fmla="*/ 187637 h 198315"/>
                  <a:gd name="connsiteX34" fmla="*/ 179247 w 411886"/>
                  <a:gd name="connsiteY34" fmla="*/ 187637 h 198315"/>
                  <a:gd name="connsiteX35" fmla="*/ 179247 w 411886"/>
                  <a:gd name="connsiteY35" fmla="*/ 202129 h 198315"/>
                  <a:gd name="connsiteX36" fmla="*/ 69411 w 411886"/>
                  <a:gd name="connsiteY36" fmla="*/ 202129 h 198315"/>
                  <a:gd name="connsiteX37" fmla="*/ 69411 w 411886"/>
                  <a:gd name="connsiteY37" fmla="*/ 187637 h 198315"/>
                  <a:gd name="connsiteX38" fmla="*/ 75513 w 411886"/>
                  <a:gd name="connsiteY38" fmla="*/ 187637 h 198315"/>
                  <a:gd name="connsiteX39" fmla="*/ 85428 w 411886"/>
                  <a:gd name="connsiteY39" fmla="*/ 182298 h 198315"/>
                  <a:gd name="connsiteX40" fmla="*/ 84666 w 411886"/>
                  <a:gd name="connsiteY40" fmla="*/ 168568 h 198315"/>
                  <a:gd name="connsiteX41" fmla="*/ 28985 w 411886"/>
                  <a:gd name="connsiteY41" fmla="*/ 32036 h 198315"/>
                  <a:gd name="connsiteX42" fmla="*/ 19832 w 411886"/>
                  <a:gd name="connsiteY42" fmla="*/ 19832 h 198315"/>
                  <a:gd name="connsiteX43" fmla="*/ 6865 w 411886"/>
                  <a:gd name="connsiteY43" fmla="*/ 14492 h 198315"/>
                  <a:gd name="connsiteX44" fmla="*/ 0 w 411886"/>
                  <a:gd name="connsiteY44" fmla="*/ 14492 h 198315"/>
                  <a:gd name="connsiteX45" fmla="*/ 0 w 411886"/>
                  <a:gd name="connsiteY45" fmla="*/ 0 h 198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411886" h="198315">
                    <a:moveTo>
                      <a:pt x="0" y="0"/>
                    </a:moveTo>
                    <a:lnTo>
                      <a:pt x="113650" y="0"/>
                    </a:lnTo>
                    <a:lnTo>
                      <a:pt x="113650" y="15255"/>
                    </a:lnTo>
                    <a:lnTo>
                      <a:pt x="108311" y="15255"/>
                    </a:lnTo>
                    <a:cubicBezTo>
                      <a:pt x="102972" y="16018"/>
                      <a:pt x="97632" y="19832"/>
                      <a:pt x="95344" y="24408"/>
                    </a:cubicBezTo>
                    <a:cubicBezTo>
                      <a:pt x="93056" y="29747"/>
                      <a:pt x="93819" y="34324"/>
                      <a:pt x="95344" y="38900"/>
                    </a:cubicBezTo>
                    <a:lnTo>
                      <a:pt x="129668" y="120515"/>
                    </a:lnTo>
                    <a:lnTo>
                      <a:pt x="176196" y="0"/>
                    </a:lnTo>
                    <a:lnTo>
                      <a:pt x="237979" y="0"/>
                    </a:lnTo>
                    <a:lnTo>
                      <a:pt x="286032" y="119752"/>
                    </a:lnTo>
                    <a:lnTo>
                      <a:pt x="321882" y="34324"/>
                    </a:lnTo>
                    <a:cubicBezTo>
                      <a:pt x="322645" y="28985"/>
                      <a:pt x="322645" y="26696"/>
                      <a:pt x="319594" y="22120"/>
                    </a:cubicBezTo>
                    <a:cubicBezTo>
                      <a:pt x="316542" y="17543"/>
                      <a:pt x="313492" y="16018"/>
                      <a:pt x="308152" y="15255"/>
                    </a:cubicBezTo>
                    <a:lnTo>
                      <a:pt x="301287" y="15255"/>
                    </a:lnTo>
                    <a:lnTo>
                      <a:pt x="301287" y="0"/>
                    </a:lnTo>
                    <a:lnTo>
                      <a:pt x="414175" y="0"/>
                    </a:lnTo>
                    <a:lnTo>
                      <a:pt x="414175" y="15255"/>
                    </a:lnTo>
                    <a:lnTo>
                      <a:pt x="405785" y="15255"/>
                    </a:lnTo>
                    <a:cubicBezTo>
                      <a:pt x="398920" y="15255"/>
                      <a:pt x="395106" y="17543"/>
                      <a:pt x="389004" y="22120"/>
                    </a:cubicBezTo>
                    <a:cubicBezTo>
                      <a:pt x="383665" y="25934"/>
                      <a:pt x="381376" y="29747"/>
                      <a:pt x="378326" y="35849"/>
                    </a:cubicBezTo>
                    <a:lnTo>
                      <a:pt x="324170" y="168568"/>
                    </a:lnTo>
                    <a:cubicBezTo>
                      <a:pt x="321882" y="174670"/>
                      <a:pt x="321882" y="178484"/>
                      <a:pt x="323407" y="182298"/>
                    </a:cubicBezTo>
                    <a:cubicBezTo>
                      <a:pt x="325696" y="186112"/>
                      <a:pt x="329509" y="186874"/>
                      <a:pt x="334086" y="187637"/>
                    </a:cubicBezTo>
                    <a:lnTo>
                      <a:pt x="342476" y="187637"/>
                    </a:lnTo>
                    <a:lnTo>
                      <a:pt x="342476" y="202129"/>
                    </a:lnTo>
                    <a:lnTo>
                      <a:pt x="231877" y="202129"/>
                    </a:lnTo>
                    <a:lnTo>
                      <a:pt x="231877" y="187637"/>
                    </a:lnTo>
                    <a:lnTo>
                      <a:pt x="239505" y="187637"/>
                    </a:lnTo>
                    <a:cubicBezTo>
                      <a:pt x="243318" y="186874"/>
                      <a:pt x="245607" y="186112"/>
                      <a:pt x="247132" y="181535"/>
                    </a:cubicBezTo>
                    <a:cubicBezTo>
                      <a:pt x="248658" y="177721"/>
                      <a:pt x="248658" y="175433"/>
                      <a:pt x="246369" y="170857"/>
                    </a:cubicBezTo>
                    <a:lnTo>
                      <a:pt x="205943" y="74750"/>
                    </a:lnTo>
                    <a:lnTo>
                      <a:pt x="166280" y="169331"/>
                    </a:lnTo>
                    <a:cubicBezTo>
                      <a:pt x="164755" y="173908"/>
                      <a:pt x="163992" y="177721"/>
                      <a:pt x="165517" y="182298"/>
                    </a:cubicBezTo>
                    <a:cubicBezTo>
                      <a:pt x="167043" y="185349"/>
                      <a:pt x="170094" y="186874"/>
                      <a:pt x="173908" y="187637"/>
                    </a:cubicBezTo>
                    <a:lnTo>
                      <a:pt x="179247" y="187637"/>
                    </a:lnTo>
                    <a:lnTo>
                      <a:pt x="179247" y="202129"/>
                    </a:lnTo>
                    <a:lnTo>
                      <a:pt x="69411" y="202129"/>
                    </a:lnTo>
                    <a:lnTo>
                      <a:pt x="69411" y="187637"/>
                    </a:lnTo>
                    <a:lnTo>
                      <a:pt x="75513" y="187637"/>
                    </a:lnTo>
                    <a:cubicBezTo>
                      <a:pt x="80089" y="186874"/>
                      <a:pt x="83140" y="186112"/>
                      <a:pt x="85428" y="182298"/>
                    </a:cubicBezTo>
                    <a:cubicBezTo>
                      <a:pt x="87717" y="177721"/>
                      <a:pt x="86954" y="173908"/>
                      <a:pt x="84666" y="168568"/>
                    </a:cubicBezTo>
                    <a:lnTo>
                      <a:pt x="28985" y="32036"/>
                    </a:lnTo>
                    <a:cubicBezTo>
                      <a:pt x="26696" y="26696"/>
                      <a:pt x="25934" y="24408"/>
                      <a:pt x="19832" y="19832"/>
                    </a:cubicBezTo>
                    <a:cubicBezTo>
                      <a:pt x="16018" y="16781"/>
                      <a:pt x="12967" y="15255"/>
                      <a:pt x="6865" y="14492"/>
                    </a:cubicBezTo>
                    <a:lnTo>
                      <a:pt x="0" y="144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76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400" dirty="0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DB11B497-E336-4C8F-AAC1-F51E8E321077}"/>
                  </a:ext>
                </a:extLst>
              </p:cNvPr>
              <p:cNvSpPr/>
              <p:nvPr/>
            </p:nvSpPr>
            <p:spPr>
              <a:xfrm>
                <a:off x="829890" y="6151550"/>
                <a:ext cx="289846" cy="244081"/>
              </a:xfrm>
              <a:custGeom>
                <a:avLst/>
                <a:gdLst>
                  <a:gd name="connsiteX0" fmla="*/ 169331 w 289846"/>
                  <a:gd name="connsiteY0" fmla="*/ 196027 h 244080"/>
                  <a:gd name="connsiteX1" fmla="*/ 86954 w 289846"/>
                  <a:gd name="connsiteY1" fmla="*/ 196027 h 244080"/>
                  <a:gd name="connsiteX2" fmla="*/ 86954 w 289846"/>
                  <a:gd name="connsiteY2" fmla="*/ 53393 h 244080"/>
                  <a:gd name="connsiteX3" fmla="*/ 169331 w 289846"/>
                  <a:gd name="connsiteY3" fmla="*/ 53393 h 244080"/>
                  <a:gd name="connsiteX4" fmla="*/ 234165 w 289846"/>
                  <a:gd name="connsiteY4" fmla="*/ 124329 h 244080"/>
                  <a:gd name="connsiteX5" fmla="*/ 169331 w 289846"/>
                  <a:gd name="connsiteY5" fmla="*/ 196027 h 244080"/>
                  <a:gd name="connsiteX6" fmla="*/ 171619 w 289846"/>
                  <a:gd name="connsiteY6" fmla="*/ 0 h 244080"/>
                  <a:gd name="connsiteX7" fmla="*/ 763 w 289846"/>
                  <a:gd name="connsiteY7" fmla="*/ 0 h 244080"/>
                  <a:gd name="connsiteX8" fmla="*/ 763 w 289846"/>
                  <a:gd name="connsiteY8" fmla="*/ 14492 h 244080"/>
                  <a:gd name="connsiteX9" fmla="*/ 8390 w 289846"/>
                  <a:gd name="connsiteY9" fmla="*/ 14492 h 244080"/>
                  <a:gd name="connsiteX10" fmla="*/ 21357 w 289846"/>
                  <a:gd name="connsiteY10" fmla="*/ 20594 h 244080"/>
                  <a:gd name="connsiteX11" fmla="*/ 26696 w 289846"/>
                  <a:gd name="connsiteY11" fmla="*/ 31273 h 244080"/>
                  <a:gd name="connsiteX12" fmla="*/ 26696 w 289846"/>
                  <a:gd name="connsiteY12" fmla="*/ 216622 h 244080"/>
                  <a:gd name="connsiteX13" fmla="*/ 22120 w 289846"/>
                  <a:gd name="connsiteY13" fmla="*/ 228826 h 244080"/>
                  <a:gd name="connsiteX14" fmla="*/ 8390 w 289846"/>
                  <a:gd name="connsiteY14" fmla="*/ 234928 h 244080"/>
                  <a:gd name="connsiteX15" fmla="*/ 0 w 289846"/>
                  <a:gd name="connsiteY15" fmla="*/ 234928 h 244080"/>
                  <a:gd name="connsiteX16" fmla="*/ 0 w 289846"/>
                  <a:gd name="connsiteY16" fmla="*/ 249420 h 244080"/>
                  <a:gd name="connsiteX17" fmla="*/ 172382 w 289846"/>
                  <a:gd name="connsiteY17" fmla="*/ 249420 h 244080"/>
                  <a:gd name="connsiteX18" fmla="*/ 295185 w 289846"/>
                  <a:gd name="connsiteY18" fmla="*/ 123566 h 244080"/>
                  <a:gd name="connsiteX19" fmla="*/ 171619 w 289846"/>
                  <a:gd name="connsiteY19" fmla="*/ 0 h 244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89846" h="244080">
                    <a:moveTo>
                      <a:pt x="169331" y="196027"/>
                    </a:moveTo>
                    <a:lnTo>
                      <a:pt x="86954" y="196027"/>
                    </a:lnTo>
                    <a:lnTo>
                      <a:pt x="86954" y="53393"/>
                    </a:lnTo>
                    <a:lnTo>
                      <a:pt x="169331" y="53393"/>
                    </a:lnTo>
                    <a:cubicBezTo>
                      <a:pt x="208232" y="53393"/>
                      <a:pt x="230351" y="73987"/>
                      <a:pt x="234165" y="124329"/>
                    </a:cubicBezTo>
                    <a:cubicBezTo>
                      <a:pt x="236453" y="161704"/>
                      <a:pt x="209757" y="196027"/>
                      <a:pt x="169331" y="196027"/>
                    </a:cubicBezTo>
                    <a:moveTo>
                      <a:pt x="171619" y="0"/>
                    </a:moveTo>
                    <a:lnTo>
                      <a:pt x="763" y="0"/>
                    </a:lnTo>
                    <a:lnTo>
                      <a:pt x="763" y="14492"/>
                    </a:lnTo>
                    <a:lnTo>
                      <a:pt x="8390" y="14492"/>
                    </a:lnTo>
                    <a:cubicBezTo>
                      <a:pt x="13730" y="15255"/>
                      <a:pt x="17543" y="16781"/>
                      <a:pt x="21357" y="20594"/>
                    </a:cubicBezTo>
                    <a:cubicBezTo>
                      <a:pt x="24408" y="23645"/>
                      <a:pt x="25934" y="26696"/>
                      <a:pt x="26696" y="31273"/>
                    </a:cubicBezTo>
                    <a:lnTo>
                      <a:pt x="26696" y="216622"/>
                    </a:lnTo>
                    <a:cubicBezTo>
                      <a:pt x="26696" y="222724"/>
                      <a:pt x="25171" y="225012"/>
                      <a:pt x="22120" y="228826"/>
                    </a:cubicBezTo>
                    <a:cubicBezTo>
                      <a:pt x="19069" y="232640"/>
                      <a:pt x="14492" y="234928"/>
                      <a:pt x="8390" y="234928"/>
                    </a:cubicBezTo>
                    <a:lnTo>
                      <a:pt x="0" y="234928"/>
                    </a:lnTo>
                    <a:lnTo>
                      <a:pt x="0" y="249420"/>
                    </a:lnTo>
                    <a:lnTo>
                      <a:pt x="172382" y="249420"/>
                    </a:lnTo>
                    <a:cubicBezTo>
                      <a:pt x="226538" y="249420"/>
                      <a:pt x="295185" y="202129"/>
                      <a:pt x="295185" y="123566"/>
                    </a:cubicBezTo>
                    <a:cubicBezTo>
                      <a:pt x="295185" y="50342"/>
                      <a:pt x="226538" y="0"/>
                      <a:pt x="171619" y="0"/>
                    </a:cubicBezTo>
                  </a:path>
                </a:pathLst>
              </a:custGeom>
              <a:solidFill>
                <a:srgbClr val="FFFFFF"/>
              </a:solidFill>
              <a:ln w="76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400" dirty="0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CDD7453A-8059-4EE1-850E-9F072E1034B4}"/>
                  </a:ext>
                </a:extLst>
              </p:cNvPr>
              <p:cNvSpPr/>
              <p:nvPr/>
            </p:nvSpPr>
            <p:spPr>
              <a:xfrm>
                <a:off x="1755872" y="6478008"/>
                <a:ext cx="83903" cy="83903"/>
              </a:xfrm>
              <a:custGeom>
                <a:avLst/>
                <a:gdLst>
                  <a:gd name="connsiteX0" fmla="*/ 36612 w 83902"/>
                  <a:gd name="connsiteY0" fmla="*/ 41189 h 83902"/>
                  <a:gd name="connsiteX1" fmla="*/ 47291 w 83902"/>
                  <a:gd name="connsiteY1" fmla="*/ 41189 h 83902"/>
                  <a:gd name="connsiteX2" fmla="*/ 54918 w 83902"/>
                  <a:gd name="connsiteY2" fmla="*/ 32798 h 83902"/>
                  <a:gd name="connsiteX3" fmla="*/ 47291 w 83902"/>
                  <a:gd name="connsiteY3" fmla="*/ 25171 h 83902"/>
                  <a:gd name="connsiteX4" fmla="*/ 36612 w 83902"/>
                  <a:gd name="connsiteY4" fmla="*/ 25171 h 83902"/>
                  <a:gd name="connsiteX5" fmla="*/ 36612 w 83902"/>
                  <a:gd name="connsiteY5" fmla="*/ 41189 h 83902"/>
                  <a:gd name="connsiteX6" fmla="*/ 36612 w 83902"/>
                  <a:gd name="connsiteY6" fmla="*/ 70936 h 83902"/>
                  <a:gd name="connsiteX7" fmla="*/ 28222 w 83902"/>
                  <a:gd name="connsiteY7" fmla="*/ 70936 h 83902"/>
                  <a:gd name="connsiteX8" fmla="*/ 28222 w 83902"/>
                  <a:gd name="connsiteY8" fmla="*/ 19832 h 83902"/>
                  <a:gd name="connsiteX9" fmla="*/ 48816 w 83902"/>
                  <a:gd name="connsiteY9" fmla="*/ 19832 h 83902"/>
                  <a:gd name="connsiteX10" fmla="*/ 63309 w 83902"/>
                  <a:gd name="connsiteY10" fmla="*/ 32798 h 83902"/>
                  <a:gd name="connsiteX11" fmla="*/ 51867 w 83902"/>
                  <a:gd name="connsiteY11" fmla="*/ 45002 h 83902"/>
                  <a:gd name="connsiteX12" fmla="*/ 51867 w 83902"/>
                  <a:gd name="connsiteY12" fmla="*/ 45002 h 83902"/>
                  <a:gd name="connsiteX13" fmla="*/ 61020 w 83902"/>
                  <a:gd name="connsiteY13" fmla="*/ 57969 h 83902"/>
                  <a:gd name="connsiteX14" fmla="*/ 63309 w 83902"/>
                  <a:gd name="connsiteY14" fmla="*/ 71699 h 83902"/>
                  <a:gd name="connsiteX15" fmla="*/ 54918 w 83902"/>
                  <a:gd name="connsiteY15" fmla="*/ 71699 h 83902"/>
                  <a:gd name="connsiteX16" fmla="*/ 52630 w 83902"/>
                  <a:gd name="connsiteY16" fmla="*/ 54918 h 83902"/>
                  <a:gd name="connsiteX17" fmla="*/ 45002 w 83902"/>
                  <a:gd name="connsiteY17" fmla="*/ 48816 h 83902"/>
                  <a:gd name="connsiteX18" fmla="*/ 36612 w 83902"/>
                  <a:gd name="connsiteY18" fmla="*/ 48816 h 83902"/>
                  <a:gd name="connsiteX19" fmla="*/ 36612 w 83902"/>
                  <a:gd name="connsiteY19" fmla="*/ 70936 h 83902"/>
                  <a:gd name="connsiteX20" fmla="*/ 6865 w 83902"/>
                  <a:gd name="connsiteY20" fmla="*/ 45002 h 83902"/>
                  <a:gd name="connsiteX21" fmla="*/ 45002 w 83902"/>
                  <a:gd name="connsiteY21" fmla="*/ 83140 h 83902"/>
                  <a:gd name="connsiteX22" fmla="*/ 83140 w 83902"/>
                  <a:gd name="connsiteY22" fmla="*/ 45002 h 83902"/>
                  <a:gd name="connsiteX23" fmla="*/ 45002 w 83902"/>
                  <a:gd name="connsiteY23" fmla="*/ 6865 h 83902"/>
                  <a:gd name="connsiteX24" fmla="*/ 6865 w 83902"/>
                  <a:gd name="connsiteY24" fmla="*/ 45002 h 83902"/>
                  <a:gd name="connsiteX25" fmla="*/ 90005 w 83902"/>
                  <a:gd name="connsiteY25" fmla="*/ 45002 h 83902"/>
                  <a:gd name="connsiteX26" fmla="*/ 45002 w 83902"/>
                  <a:gd name="connsiteY26" fmla="*/ 90005 h 83902"/>
                  <a:gd name="connsiteX27" fmla="*/ 0 w 83902"/>
                  <a:gd name="connsiteY27" fmla="*/ 45002 h 83902"/>
                  <a:gd name="connsiteX28" fmla="*/ 45002 w 83902"/>
                  <a:gd name="connsiteY28" fmla="*/ 0 h 83902"/>
                  <a:gd name="connsiteX29" fmla="*/ 90005 w 83902"/>
                  <a:gd name="connsiteY29" fmla="*/ 45002 h 83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83902" h="83902">
                    <a:moveTo>
                      <a:pt x="36612" y="41189"/>
                    </a:moveTo>
                    <a:lnTo>
                      <a:pt x="47291" y="41189"/>
                    </a:lnTo>
                    <a:cubicBezTo>
                      <a:pt x="52630" y="41189"/>
                      <a:pt x="54918" y="37375"/>
                      <a:pt x="54918" y="32798"/>
                    </a:cubicBezTo>
                    <a:cubicBezTo>
                      <a:pt x="54918" y="28985"/>
                      <a:pt x="53393" y="25171"/>
                      <a:pt x="47291" y="25171"/>
                    </a:cubicBezTo>
                    <a:lnTo>
                      <a:pt x="36612" y="25171"/>
                    </a:lnTo>
                    <a:lnTo>
                      <a:pt x="36612" y="41189"/>
                    </a:lnTo>
                    <a:close/>
                    <a:moveTo>
                      <a:pt x="36612" y="70936"/>
                    </a:moveTo>
                    <a:lnTo>
                      <a:pt x="28222" y="70936"/>
                    </a:lnTo>
                    <a:lnTo>
                      <a:pt x="28222" y="19832"/>
                    </a:lnTo>
                    <a:lnTo>
                      <a:pt x="48816" y="19832"/>
                    </a:lnTo>
                    <a:cubicBezTo>
                      <a:pt x="58732" y="19832"/>
                      <a:pt x="63309" y="25934"/>
                      <a:pt x="63309" y="32798"/>
                    </a:cubicBezTo>
                    <a:cubicBezTo>
                      <a:pt x="63309" y="38900"/>
                      <a:pt x="58732" y="43477"/>
                      <a:pt x="51867" y="45002"/>
                    </a:cubicBezTo>
                    <a:lnTo>
                      <a:pt x="51867" y="45002"/>
                    </a:lnTo>
                    <a:cubicBezTo>
                      <a:pt x="57969" y="45765"/>
                      <a:pt x="60257" y="48053"/>
                      <a:pt x="61020" y="57969"/>
                    </a:cubicBezTo>
                    <a:cubicBezTo>
                      <a:pt x="61020" y="60257"/>
                      <a:pt x="61783" y="67885"/>
                      <a:pt x="63309" y="71699"/>
                    </a:cubicBezTo>
                    <a:lnTo>
                      <a:pt x="54918" y="71699"/>
                    </a:lnTo>
                    <a:cubicBezTo>
                      <a:pt x="52630" y="67885"/>
                      <a:pt x="53393" y="61783"/>
                      <a:pt x="52630" y="54918"/>
                    </a:cubicBezTo>
                    <a:cubicBezTo>
                      <a:pt x="51867" y="49579"/>
                      <a:pt x="47291" y="48816"/>
                      <a:pt x="45002" y="48816"/>
                    </a:cubicBezTo>
                    <a:lnTo>
                      <a:pt x="36612" y="48816"/>
                    </a:lnTo>
                    <a:lnTo>
                      <a:pt x="36612" y="70936"/>
                    </a:lnTo>
                    <a:close/>
                    <a:moveTo>
                      <a:pt x="6865" y="45002"/>
                    </a:moveTo>
                    <a:cubicBezTo>
                      <a:pt x="6865" y="66359"/>
                      <a:pt x="23645" y="83140"/>
                      <a:pt x="45002" y="83140"/>
                    </a:cubicBezTo>
                    <a:cubicBezTo>
                      <a:pt x="66359" y="83140"/>
                      <a:pt x="83140" y="66359"/>
                      <a:pt x="83140" y="45002"/>
                    </a:cubicBezTo>
                    <a:cubicBezTo>
                      <a:pt x="83140" y="23645"/>
                      <a:pt x="66359" y="6865"/>
                      <a:pt x="45002" y="6865"/>
                    </a:cubicBezTo>
                    <a:cubicBezTo>
                      <a:pt x="24408" y="6865"/>
                      <a:pt x="6865" y="24408"/>
                      <a:pt x="6865" y="45002"/>
                    </a:cubicBezTo>
                    <a:moveTo>
                      <a:pt x="90005" y="45002"/>
                    </a:moveTo>
                    <a:cubicBezTo>
                      <a:pt x="90005" y="70173"/>
                      <a:pt x="70173" y="90005"/>
                      <a:pt x="45002" y="90005"/>
                    </a:cubicBezTo>
                    <a:cubicBezTo>
                      <a:pt x="20594" y="90005"/>
                      <a:pt x="0" y="70173"/>
                      <a:pt x="0" y="45002"/>
                    </a:cubicBezTo>
                    <a:cubicBezTo>
                      <a:pt x="0" y="19832"/>
                      <a:pt x="19832" y="0"/>
                      <a:pt x="45002" y="0"/>
                    </a:cubicBezTo>
                    <a:cubicBezTo>
                      <a:pt x="70173" y="763"/>
                      <a:pt x="90005" y="20594"/>
                      <a:pt x="90005" y="45002"/>
                    </a:cubicBezTo>
                  </a:path>
                </a:pathLst>
              </a:custGeom>
              <a:solidFill>
                <a:srgbClr val="E80033"/>
              </a:solidFill>
              <a:ln w="760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400" dirty="0"/>
              </a:p>
            </p:txBody>
          </p:sp>
        </p:grpSp>
      </p:grpSp>
      <p:sp>
        <p:nvSpPr>
          <p:cNvPr id="42" name="Rectangle 2">
            <a:extLst>
              <a:ext uri="{FF2B5EF4-FFF2-40B4-BE49-F238E27FC236}">
                <a16:creationId xmlns:a16="http://schemas.microsoft.com/office/drawing/2014/main" id="{A1ADB478-E49E-4C16-8095-D56A6B8858E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371477" y="1010848"/>
            <a:ext cx="9756497" cy="2601273"/>
          </a:xfrm>
        </p:spPr>
        <p:txBody>
          <a:bodyPr anchor="b" anchorCtr="0"/>
          <a:lstStyle>
            <a:lvl1pPr marL="0" marR="0" indent="0" algn="l" defTabSz="121908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800" cap="none" baseline="0">
                <a:solidFill>
                  <a:schemeClr val="bg2"/>
                </a:solidFill>
                <a:effectLst>
                  <a:outerShdw blurRad="495300" algn="ctr" rotWithShape="0">
                    <a:prstClr val="black">
                      <a:alpha val="40000"/>
                    </a:prstClr>
                  </a:outerShdw>
                </a:effectLst>
                <a:latin typeface="+mj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3" name="Rectangle 3">
            <a:extLst>
              <a:ext uri="{FF2B5EF4-FFF2-40B4-BE49-F238E27FC236}">
                <a16:creationId xmlns:a16="http://schemas.microsoft.com/office/drawing/2014/main" id="{6AF126E3-B635-4A61-A844-988C38A514E2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371477" y="3713595"/>
            <a:ext cx="8901113" cy="749408"/>
          </a:xfrm>
        </p:spPr>
        <p:txBody>
          <a:bodyPr anchor="t" anchorCtr="0"/>
          <a:lstStyle>
            <a:lvl1pPr algn="l">
              <a:lnSpc>
                <a:spcPct val="95000"/>
              </a:lnSpc>
              <a:spcBef>
                <a:spcPts val="0"/>
              </a:spcBef>
              <a:defRPr sz="2000">
                <a:solidFill>
                  <a:schemeClr val="bg2"/>
                </a:solidFill>
                <a:effectLst>
                  <a:outerShdw blurRad="495300" algn="ctr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D9344D3A-263C-4A8D-9BED-1C3F592785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51715" y="6435091"/>
            <a:ext cx="4468812" cy="261620"/>
          </a:xfrm>
        </p:spPr>
        <p:txBody>
          <a:bodyPr anchor="ctr"/>
          <a:lstStyle>
            <a:lvl1pPr algn="r">
              <a:defRPr sz="1067"/>
            </a:lvl1pPr>
          </a:lstStyle>
          <a:p>
            <a:pPr lvl="0"/>
            <a:r>
              <a:rPr lang="en-US"/>
              <a:t>Insert footer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5959397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w Document Hand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D185F9-ACC4-4ECC-B130-7B16B3C4764B}"/>
              </a:ext>
            </a:extLst>
          </p:cNvPr>
          <p:cNvSpPr/>
          <p:nvPr userDrawn="1"/>
        </p:nvSpPr>
        <p:spPr>
          <a:xfrm>
            <a:off x="0" y="6577582"/>
            <a:ext cx="12192000" cy="280417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BC4B5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EBAB01D-1123-E642-AA43-D76C383F73C2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9144000" cy="514350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348EA302-157D-434D-B880-B29B5CC66066}"/>
                </a:ext>
              </a:extLst>
            </p:cNvPr>
            <p:cNvSpPr/>
            <p:nvPr userDrawn="1"/>
          </p:nvSpPr>
          <p:spPr bwMode="white">
            <a:xfrm>
              <a:off x="0" y="4788991"/>
              <a:ext cx="9144000" cy="35450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BCFA9A9-5468-9F43-8DF7-2BDE87F7C71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2570" y="0"/>
              <a:ext cx="8621430" cy="4889280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9EC5BE1D-F1E5-9B4A-942F-3BB4DF0361FA}"/>
                </a:ext>
              </a:extLst>
            </p:cNvPr>
            <p:cNvSpPr/>
            <p:nvPr userDrawn="1"/>
          </p:nvSpPr>
          <p:spPr>
            <a:xfrm>
              <a:off x="6158927" y="0"/>
              <a:ext cx="2985073" cy="55453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56629" indent="0" algn="l">
                <a:tabLst/>
              </a:pPr>
              <a:r>
                <a:rPr lang="en-US" sz="1467" b="1" dirty="0"/>
                <a:t>Remove this instructional slide </a:t>
              </a:r>
              <a:br>
                <a:rPr lang="en-US" sz="1467" b="1" dirty="0"/>
              </a:br>
              <a:r>
                <a:rPr lang="en-US" sz="1467" b="1" dirty="0"/>
                <a:t>before releasing your presentation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485F5AD-93F6-FA4C-BA5B-4E167A18E6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65684" y="4483509"/>
              <a:ext cx="7488160" cy="2783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65212809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5" name="Object 3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10933350" cy="509541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7" name="bg object 19"/>
          <p:cNvSpPr/>
          <p:nvPr userDrawn="1"/>
        </p:nvSpPr>
        <p:spPr>
          <a:xfrm>
            <a:off x="628650" y="701040"/>
            <a:ext cx="10953752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8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39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40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205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59F1A0B-AAE6-8140-AE4E-1EDC6054DA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3" y="0"/>
            <a:ext cx="6101189" cy="190662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207A2EC-4D91-1B44-8983-BD950B0315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9952" y="5545717"/>
            <a:ext cx="2834665" cy="422559"/>
          </a:xfrm>
          <a:prstGeom prst="rect">
            <a:avLst/>
          </a:prstGeom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F685928-6F31-FE44-A35C-1E086713E9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" y="6492240"/>
            <a:ext cx="12191999" cy="365760"/>
          </a:xfrm>
          <a:prstGeom prst="rect">
            <a:avLst/>
          </a:prstGeom>
        </p:spPr>
        <p:txBody>
          <a:bodyPr anchor="t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ow Restricted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4C786C2-7050-E241-9BB1-B64ED869C3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196" y="0"/>
            <a:ext cx="6101189" cy="190662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8ED9A7B-257F-7340-A03A-7EEE5A5E003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8678" y="1441731"/>
            <a:ext cx="2694641" cy="929780"/>
          </a:xfrm>
          <a:prstGeom prst="rect">
            <a:avLst/>
          </a:prstGeom>
        </p:spPr>
      </p:pic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FF230876-C726-4F48-A34B-294C5DB7F3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5195" y="2960916"/>
            <a:ext cx="12197196" cy="812800"/>
          </a:xfrm>
          <a:prstGeom prst="rect">
            <a:avLst/>
          </a:prstGeom>
        </p:spPr>
        <p:txBody>
          <a:bodyPr/>
          <a:lstStyle>
            <a:lvl1pPr algn="ctr">
              <a:defRPr sz="32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A71F79B-B15C-0740-991E-708D9E8306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5195" y="3773717"/>
            <a:ext cx="12197196" cy="743129"/>
          </a:xfrm>
          <a:prstGeom prst="rect">
            <a:avLst/>
          </a:prstGeom>
        </p:spPr>
        <p:txBody>
          <a:bodyPr/>
          <a:lstStyle>
            <a:lvl1pPr algn="ctr">
              <a:defRPr sz="2400" b="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Subtitle / Date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2D2CD543-92A5-B742-B0EC-B295F1AAD8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94616" y="2014919"/>
            <a:ext cx="4271016" cy="356592"/>
          </a:xfrm>
          <a:prstGeom prst="rect">
            <a:avLst/>
          </a:prstGeom>
        </p:spPr>
        <p:txBody>
          <a:bodyPr>
            <a:normAutofit/>
          </a:bodyPr>
          <a:lstStyle>
            <a:lvl1pPr algn="r">
              <a:defRPr sz="14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Business or Function Name</a:t>
            </a:r>
          </a:p>
        </p:txBody>
      </p:sp>
    </p:spTree>
    <p:extLst>
      <p:ext uri="{BB962C8B-B14F-4D97-AF65-F5344CB8AC3E}">
        <p14:creationId xmlns:p14="http://schemas.microsoft.com/office/powerpoint/2010/main" val="3270237623"/>
      </p:ext>
    </p:extLst>
  </p:cSld>
  <p:clrMapOvr>
    <a:masterClrMapping/>
  </p:clrMapOvr>
  <p:hf hdr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43807843-E324-3646-B04D-5729AAE88F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621" y="3183827"/>
            <a:ext cx="11012753" cy="752448"/>
          </a:xfrm>
          <a:prstGeom prst="rect">
            <a:avLst/>
          </a:prstGeom>
        </p:spPr>
        <p:txBody>
          <a:bodyPr/>
          <a:lstStyle>
            <a:lvl1pPr algn="l">
              <a:defRPr sz="3200"/>
            </a:lvl1pPr>
            <a:lvl2pPr algn="l">
              <a:spcBef>
                <a:spcPts val="533"/>
              </a:spcBef>
              <a:defRPr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>
              <a:spcBef>
                <a:spcPts val="2400"/>
              </a:spcBef>
              <a:defRPr sz="2400">
                <a:solidFill>
                  <a:schemeClr val="accent2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Presentation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9943E98-BC76-7144-A78A-974B39882C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226" y="5828416"/>
            <a:ext cx="2911113" cy="43395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2793692-3B2E-854C-B9AE-EFDDDC678D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1"/>
            <a:ext cx="12191999" cy="1290385"/>
          </a:xfrm>
          <a:prstGeom prst="rect">
            <a:avLst/>
          </a:prstGeom>
        </p:spPr>
      </p:pic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631C4B46-FD68-2347-9FC3-FB62C9D386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82012" y="825496"/>
            <a:ext cx="7156969" cy="464891"/>
          </a:xfrm>
          <a:prstGeom prst="rect">
            <a:avLst/>
          </a:prstGeom>
        </p:spPr>
        <p:txBody>
          <a:bodyPr>
            <a:normAutofit/>
          </a:bodyPr>
          <a:lstStyle>
            <a:lvl1pPr algn="r">
              <a:defRPr sz="18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ptional Business or Function Nam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8CDC7FF-A266-FB47-A994-CF89455F040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226" y="825495"/>
            <a:ext cx="2694641" cy="929780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B8F2F28-5F90-0747-857F-C8CC56A5E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654766" y="6455955"/>
            <a:ext cx="5984215" cy="402045"/>
          </a:xfrm>
          <a:prstGeom prst="rect">
            <a:avLst/>
          </a:prstGeom>
        </p:spPr>
        <p:txBody>
          <a:bodyPr anchor="t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ow Restricted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BEB8419-9CAA-6940-86B7-BF9C2CCBA9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620" y="3936276"/>
            <a:ext cx="11012755" cy="1021805"/>
          </a:xfrm>
          <a:prstGeom prst="rect">
            <a:avLst/>
          </a:prstGeom>
        </p:spPr>
        <p:txBody>
          <a:bodyPr/>
          <a:lstStyle>
            <a:lvl1pPr algn="l">
              <a:defRPr sz="2400" b="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Subtitle / Date</a:t>
            </a:r>
          </a:p>
        </p:txBody>
      </p:sp>
    </p:spTree>
    <p:extLst>
      <p:ext uri="{BB962C8B-B14F-4D97-AF65-F5344CB8AC3E}">
        <p14:creationId xmlns:p14="http://schemas.microsoft.com/office/powerpoint/2010/main" val="1178520052"/>
      </p:ext>
    </p:extLst>
  </p:cSld>
  <p:clrMapOvr>
    <a:masterClrMapping/>
  </p:clrMapOvr>
  <p:hf hdr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C81A803-12BE-4844-B599-1657CF0B7E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4351"/>
            <a:ext cx="6107612" cy="687106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AE2619B-B04B-C242-9776-8790628A07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0292" y="759651"/>
            <a:ext cx="2694641" cy="929780"/>
          </a:xfrm>
          <a:prstGeom prst="rect">
            <a:avLst/>
          </a:prstGeom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A972D88-85BA-1344-9CAB-C193CD37EE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76986" y="6490787"/>
            <a:ext cx="4889721" cy="367212"/>
          </a:xfrm>
          <a:prstGeom prst="rect">
            <a:avLst/>
          </a:prstGeom>
        </p:spPr>
        <p:txBody>
          <a:bodyPr anchor="t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ow Restricted</a:t>
            </a:r>
          </a:p>
        </p:txBody>
      </p:sp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067C5715-B659-3943-BFF4-A1A1BBF42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29417" y="291154"/>
            <a:ext cx="4787843" cy="313725"/>
          </a:xfrm>
          <a:prstGeom prst="rect">
            <a:avLst/>
          </a:prstGeom>
        </p:spPr>
        <p:txBody>
          <a:bodyPr>
            <a:normAutofit/>
          </a:bodyPr>
          <a:lstStyle>
            <a:lvl1pPr algn="r">
              <a:defRPr sz="14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Business or Function Nam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F2779A6-F987-7943-B7A6-44014FA3CB92}"/>
              </a:ext>
            </a:extLst>
          </p:cNvPr>
          <p:cNvSpPr txBox="1"/>
          <p:nvPr userDrawn="1"/>
        </p:nvSpPr>
        <p:spPr>
          <a:xfrm>
            <a:off x="9556205" y="2694964"/>
            <a:ext cx="0" cy="0"/>
          </a:xfrm>
          <a:prstGeom prst="rect">
            <a:avLst/>
          </a:prstGeom>
          <a:noFill/>
        </p:spPr>
        <p:txBody>
          <a:bodyPr wrap="none" lIns="60960" rIns="60960" rtlCol="0">
            <a:noAutofit/>
          </a:bodyPr>
          <a:lstStyle/>
          <a:p>
            <a:endParaRPr lang="en-US" sz="1867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287DB334-A594-1647-B0BA-73E92ADDE8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49259" y="2773985"/>
            <a:ext cx="5442741" cy="674611"/>
          </a:xfrm>
          <a:prstGeom prst="rect">
            <a:avLst/>
          </a:prstGeom>
        </p:spPr>
        <p:txBody>
          <a:bodyPr/>
          <a:lstStyle>
            <a:lvl1pPr algn="l">
              <a:defRPr baseline="0">
                <a:solidFill>
                  <a:schemeClr val="bg2"/>
                </a:solidFill>
                <a:latin typeface="Georgia" panose="02040502050405020303" pitchFamily="18" charset="0"/>
              </a:defRPr>
            </a:lvl1pPr>
            <a:lvl2pPr algn="l">
              <a:spcBef>
                <a:spcPts val="533"/>
              </a:spcBef>
              <a:defRPr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>
              <a:spcBef>
                <a:spcPts val="2400"/>
              </a:spcBef>
              <a:defRPr sz="2400">
                <a:solidFill>
                  <a:schemeClr val="accent2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6743337-C756-5E42-BCC2-40375DA09E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49259" y="3459327"/>
            <a:ext cx="5442741" cy="702511"/>
          </a:xfrm>
          <a:prstGeom prst="rect">
            <a:avLst/>
          </a:prstGeom>
        </p:spPr>
        <p:txBody>
          <a:bodyPr/>
          <a:lstStyle>
            <a:lvl1pPr algn="l">
              <a:defRPr sz="2400" b="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Subtitle / Date</a:t>
            </a:r>
          </a:p>
        </p:txBody>
      </p:sp>
    </p:spTree>
    <p:extLst>
      <p:ext uri="{BB962C8B-B14F-4D97-AF65-F5344CB8AC3E}">
        <p14:creationId xmlns:p14="http://schemas.microsoft.com/office/powerpoint/2010/main" val="1171913964"/>
      </p:ext>
    </p:extLst>
  </p:cSld>
  <p:clrMapOvr>
    <a:masterClrMapping/>
  </p:clrMapOvr>
  <p:hf hdr="0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72B10CB-4508-A74F-9F53-54F18922AF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6107612" cy="6871064"/>
          </a:xfrm>
          <a:prstGeom prst="rect">
            <a:avLst/>
          </a:prstGeom>
        </p:spPr>
      </p:pic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8F509243-D96A-9247-9D77-9FE6436D77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76986" y="6490787"/>
            <a:ext cx="4889721" cy="367212"/>
          </a:xfrm>
          <a:prstGeom prst="rect">
            <a:avLst/>
          </a:prstGeom>
        </p:spPr>
        <p:txBody>
          <a:bodyPr anchor="t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ow Restricted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527AD11-44B8-4D42-95C4-6750B89640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0292" y="759651"/>
            <a:ext cx="2694641" cy="929780"/>
          </a:xfrm>
          <a:prstGeom prst="rect">
            <a:avLst/>
          </a:prstGeom>
        </p:spPr>
      </p:pic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5B11F8B4-4AEA-3C4C-A2C5-4A78F8F4A6D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29417" y="291154"/>
            <a:ext cx="4787843" cy="313725"/>
          </a:xfrm>
          <a:prstGeom prst="rect">
            <a:avLst/>
          </a:prstGeom>
        </p:spPr>
        <p:txBody>
          <a:bodyPr>
            <a:normAutofit/>
          </a:bodyPr>
          <a:lstStyle>
            <a:lvl1pPr algn="r">
              <a:defRPr sz="14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Business or Function Nam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6C6796-A178-AA4D-B6A0-533DD7A07D10}"/>
              </a:ext>
            </a:extLst>
          </p:cNvPr>
          <p:cNvSpPr txBox="1"/>
          <p:nvPr userDrawn="1"/>
        </p:nvSpPr>
        <p:spPr>
          <a:xfrm>
            <a:off x="9556205" y="2694964"/>
            <a:ext cx="0" cy="0"/>
          </a:xfrm>
          <a:prstGeom prst="rect">
            <a:avLst/>
          </a:prstGeom>
          <a:noFill/>
        </p:spPr>
        <p:txBody>
          <a:bodyPr wrap="none" lIns="60960" rIns="60960" rtlCol="0">
            <a:noAutofit/>
          </a:bodyPr>
          <a:lstStyle/>
          <a:p>
            <a:endParaRPr lang="en-US" sz="1867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E67E63A-C749-A94C-950B-0676350FF9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49259" y="2773985"/>
            <a:ext cx="5442741" cy="674611"/>
          </a:xfrm>
          <a:prstGeom prst="rect">
            <a:avLst/>
          </a:prstGeom>
        </p:spPr>
        <p:txBody>
          <a:bodyPr/>
          <a:lstStyle>
            <a:lvl1pPr algn="l">
              <a:defRPr baseline="0">
                <a:solidFill>
                  <a:schemeClr val="bg2"/>
                </a:solidFill>
                <a:latin typeface="Georgia" panose="02040502050405020303" pitchFamily="18" charset="0"/>
              </a:defRPr>
            </a:lvl1pPr>
            <a:lvl2pPr algn="l">
              <a:spcBef>
                <a:spcPts val="533"/>
              </a:spcBef>
              <a:defRPr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>
              <a:spcBef>
                <a:spcPts val="2400"/>
              </a:spcBef>
              <a:defRPr sz="2400">
                <a:solidFill>
                  <a:schemeClr val="accent2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3D82AF9-9E50-0040-B533-76FEA46486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49259" y="3459327"/>
            <a:ext cx="5442741" cy="702511"/>
          </a:xfrm>
          <a:prstGeom prst="rect">
            <a:avLst/>
          </a:prstGeom>
        </p:spPr>
        <p:txBody>
          <a:bodyPr/>
          <a:lstStyle>
            <a:lvl1pPr algn="l">
              <a:defRPr sz="2400" b="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Subtitle / Date</a:t>
            </a:r>
          </a:p>
        </p:txBody>
      </p:sp>
    </p:spTree>
    <p:extLst>
      <p:ext uri="{BB962C8B-B14F-4D97-AF65-F5344CB8AC3E}">
        <p14:creationId xmlns:p14="http://schemas.microsoft.com/office/powerpoint/2010/main" val="1116094905"/>
      </p:ext>
    </p:extLst>
  </p:cSld>
  <p:clrMapOvr>
    <a:masterClrMapping/>
  </p:clrMapOvr>
  <p:hf hdr="0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8236A32-283E-4403-80F5-285A8419B8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11" y="1"/>
            <a:ext cx="6096000" cy="684039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527AD11-44B8-4D42-95C4-6750B89640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0292" y="759651"/>
            <a:ext cx="2694641" cy="92978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E6C6796-A178-AA4D-B6A0-533DD7A07D10}"/>
              </a:ext>
            </a:extLst>
          </p:cNvPr>
          <p:cNvSpPr txBox="1"/>
          <p:nvPr userDrawn="1"/>
        </p:nvSpPr>
        <p:spPr>
          <a:xfrm>
            <a:off x="9556205" y="2694964"/>
            <a:ext cx="0" cy="0"/>
          </a:xfrm>
          <a:prstGeom prst="rect">
            <a:avLst/>
          </a:prstGeom>
          <a:noFill/>
        </p:spPr>
        <p:txBody>
          <a:bodyPr wrap="none" lIns="60960" rIns="60960" rtlCol="0">
            <a:noAutofit/>
          </a:bodyPr>
          <a:lstStyle/>
          <a:p>
            <a:endParaRPr lang="en-US" sz="1867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E67E63A-C749-A94C-950B-0676350FF9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01968" y="4989007"/>
            <a:ext cx="5442741" cy="674611"/>
          </a:xfrm>
          <a:prstGeom prst="rect">
            <a:avLst/>
          </a:prstGeom>
        </p:spPr>
        <p:txBody>
          <a:bodyPr/>
          <a:lstStyle>
            <a:lvl1pPr algn="l">
              <a:defRPr sz="2667" baseline="0">
                <a:solidFill>
                  <a:schemeClr val="tx1"/>
                </a:solidFill>
                <a:latin typeface="+mj-lt"/>
              </a:defRPr>
            </a:lvl1pPr>
            <a:lvl2pPr algn="l">
              <a:spcBef>
                <a:spcPts val="533"/>
              </a:spcBef>
              <a:defRPr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>
              <a:spcBef>
                <a:spcPts val="2400"/>
              </a:spcBef>
              <a:defRPr sz="2400">
                <a:solidFill>
                  <a:schemeClr val="accent2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871473139"/>
      </p:ext>
    </p:extLst>
  </p:cSld>
  <p:clrMapOvr>
    <a:masterClrMapping/>
  </p:clrMapOvr>
  <p:hf hdr="0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49F7B73B-8626-B84A-9CE3-5304AC0F59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436996"/>
            <a:ext cx="3111861" cy="3421005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1873F1F0-2B40-B848-B3C5-93EE61C898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11861" y="0"/>
            <a:ext cx="3111863" cy="342536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5E0D070-F801-8048-B93C-9FAAFFB5135C}"/>
              </a:ext>
            </a:extLst>
          </p:cNvPr>
          <p:cNvSpPr txBox="1"/>
          <p:nvPr userDrawn="1"/>
        </p:nvSpPr>
        <p:spPr>
          <a:xfrm>
            <a:off x="9556205" y="2694964"/>
            <a:ext cx="0" cy="0"/>
          </a:xfrm>
          <a:prstGeom prst="rect">
            <a:avLst/>
          </a:prstGeom>
          <a:noFill/>
        </p:spPr>
        <p:txBody>
          <a:bodyPr wrap="none" lIns="60960" rIns="60960" rtlCol="0">
            <a:noAutofit/>
          </a:bodyPr>
          <a:lstStyle/>
          <a:p>
            <a:endParaRPr lang="en-US" sz="1867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8F509243-D96A-9247-9D77-9FE6436D77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76986" y="6490787"/>
            <a:ext cx="4889721" cy="367212"/>
          </a:xfrm>
          <a:prstGeom prst="rect">
            <a:avLst/>
          </a:prstGeom>
        </p:spPr>
        <p:txBody>
          <a:bodyPr anchor="t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ow Restricted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5B11F8B4-4AEA-3C4C-A2C5-4A78F8F4A6D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9087" y="291154"/>
            <a:ext cx="4787843" cy="313725"/>
          </a:xfrm>
          <a:prstGeom prst="rect">
            <a:avLst/>
          </a:prstGeom>
        </p:spPr>
        <p:txBody>
          <a:bodyPr>
            <a:normAutofit/>
          </a:bodyPr>
          <a:lstStyle>
            <a:lvl1pPr algn="r">
              <a:defRPr sz="14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Business or Function Nam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73C4D1-B7FB-164C-9455-33A1C85FD2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3111864" cy="343699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124844-E7F1-2B4D-B631-4552AD1607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1645" y="3425371"/>
            <a:ext cx="3122081" cy="343262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BF4D013-5C50-2542-A246-DA6611D66FB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4542" y="2967738"/>
            <a:ext cx="2694641" cy="929780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A942538-CEA8-3F42-8D8B-AA178635FA3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49259" y="2773985"/>
            <a:ext cx="5442741" cy="674611"/>
          </a:xfrm>
          <a:prstGeom prst="rect">
            <a:avLst/>
          </a:prstGeom>
        </p:spPr>
        <p:txBody>
          <a:bodyPr/>
          <a:lstStyle>
            <a:lvl1pPr algn="l">
              <a:defRPr baseline="0">
                <a:solidFill>
                  <a:schemeClr val="bg2"/>
                </a:solidFill>
                <a:latin typeface="Georgia" panose="02040502050405020303" pitchFamily="18" charset="0"/>
              </a:defRPr>
            </a:lvl1pPr>
            <a:lvl2pPr algn="l">
              <a:spcBef>
                <a:spcPts val="533"/>
              </a:spcBef>
              <a:defRPr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>
              <a:spcBef>
                <a:spcPts val="2400"/>
              </a:spcBef>
              <a:defRPr sz="2400">
                <a:solidFill>
                  <a:schemeClr val="accent2"/>
                </a:solidFill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70AD95E9-9206-A847-B216-AFB694FEB9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49259" y="3459327"/>
            <a:ext cx="5442741" cy="702511"/>
          </a:xfrm>
          <a:prstGeom prst="rect">
            <a:avLst/>
          </a:prstGeom>
        </p:spPr>
        <p:txBody>
          <a:bodyPr/>
          <a:lstStyle>
            <a:lvl1pPr algn="l">
              <a:defRPr sz="2400" b="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Subtitle / Dat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492653A-59E0-E14E-8F3B-7AEF4B3C5B6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5664" y="1208979"/>
            <a:ext cx="2846197" cy="995788"/>
          </a:xfrm>
          <a:prstGeom prst="rect">
            <a:avLst/>
          </a:prstGeom>
        </p:spPr>
        <p:txBody>
          <a:bodyPr/>
          <a:lstStyle>
            <a:lvl1pPr algn="l">
              <a:defRPr sz="1600" b="0" baseline="0">
                <a:solidFill>
                  <a:schemeClr val="bg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image on master page.</a:t>
            </a:r>
          </a:p>
          <a:p>
            <a:pPr lvl="0"/>
            <a:endParaRPr lang="en-US"/>
          </a:p>
          <a:p>
            <a:pPr lvl="0"/>
            <a:r>
              <a:rPr lang="en-US"/>
              <a:t>Right click to </a:t>
            </a:r>
            <a:br>
              <a:rPr lang="en-US"/>
            </a:br>
            <a:r>
              <a:rPr lang="en-US"/>
              <a:t>“Change Picture”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B7D2E2E-4435-E548-8170-7CF87998D9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6864" y="1208979"/>
            <a:ext cx="2846197" cy="995788"/>
          </a:xfrm>
          <a:prstGeom prst="rect">
            <a:avLst/>
          </a:prstGeom>
        </p:spPr>
        <p:txBody>
          <a:bodyPr/>
          <a:lstStyle>
            <a:lvl1pPr algn="l">
              <a:defRPr sz="1600" b="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image on master page.</a:t>
            </a:r>
          </a:p>
          <a:p>
            <a:pPr lvl="0"/>
            <a:endParaRPr lang="en-US"/>
          </a:p>
          <a:p>
            <a:pPr lvl="0"/>
            <a:r>
              <a:rPr lang="en-US"/>
              <a:t>Right click to </a:t>
            </a:r>
            <a:br>
              <a:rPr lang="en-US"/>
            </a:br>
            <a:r>
              <a:rPr lang="en-US"/>
              <a:t>“Change Picture”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FDABF182-7C9F-B24F-A2F3-17795D14CE7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77526" y="4645779"/>
            <a:ext cx="2846197" cy="995788"/>
          </a:xfrm>
          <a:prstGeom prst="rect">
            <a:avLst/>
          </a:prstGeom>
        </p:spPr>
        <p:txBody>
          <a:bodyPr/>
          <a:lstStyle>
            <a:lvl1pPr algn="l">
              <a:defRPr sz="1600" b="0" baseline="0">
                <a:solidFill>
                  <a:schemeClr val="bg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image on master page.</a:t>
            </a:r>
          </a:p>
          <a:p>
            <a:pPr lvl="0"/>
            <a:endParaRPr lang="en-US"/>
          </a:p>
          <a:p>
            <a:pPr lvl="0"/>
            <a:r>
              <a:rPr lang="en-US"/>
              <a:t>Right click to </a:t>
            </a:r>
            <a:br>
              <a:rPr lang="en-US"/>
            </a:br>
            <a:r>
              <a:rPr lang="en-US"/>
              <a:t>“Change Picture”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7CE7080-7FAC-694D-B3BB-1095A52CE7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5447" y="4645779"/>
            <a:ext cx="2846197" cy="995788"/>
          </a:xfrm>
          <a:prstGeom prst="rect">
            <a:avLst/>
          </a:prstGeom>
        </p:spPr>
        <p:txBody>
          <a:bodyPr/>
          <a:lstStyle>
            <a:lvl1pPr algn="l">
              <a:defRPr sz="1600" b="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image on master page.</a:t>
            </a:r>
          </a:p>
          <a:p>
            <a:pPr lvl="0"/>
            <a:endParaRPr lang="en-US"/>
          </a:p>
          <a:p>
            <a:pPr lvl="0"/>
            <a:r>
              <a:rPr lang="en-US"/>
              <a:t>Right click to </a:t>
            </a:r>
            <a:br>
              <a:rPr lang="en-US"/>
            </a:br>
            <a:r>
              <a:rPr lang="en-US"/>
              <a:t>“Change Picture”</a:t>
            </a:r>
          </a:p>
        </p:txBody>
      </p:sp>
    </p:spTree>
    <p:extLst>
      <p:ext uri="{BB962C8B-B14F-4D97-AF65-F5344CB8AC3E}">
        <p14:creationId xmlns:p14="http://schemas.microsoft.com/office/powerpoint/2010/main" val="1540087671"/>
      </p:ext>
    </p:extLst>
  </p:cSld>
  <p:clrMapOvr>
    <a:masterClrMapping/>
  </p:clrMapOvr>
  <p:hf hdr="0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744121D-6A0A-AC45-86FA-786BC76056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81" y="1453"/>
            <a:ext cx="12189419" cy="6856548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7A40489-E6B3-A042-9C71-5625662F4E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619" y="914400"/>
            <a:ext cx="11263087" cy="5283200"/>
          </a:xfrm>
          <a:prstGeom prst="rect">
            <a:avLst/>
          </a:prstGeom>
        </p:spPr>
        <p:txBody>
          <a:bodyPr/>
          <a:lstStyle>
            <a:lvl1pPr>
              <a:defRPr sz="5333" b="1" i="0">
                <a:latin typeface="Georgia" panose="02040502050405020303" pitchFamily="18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ivider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F941732-CFE9-464D-A5A2-7416295D4CF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621" y="6220821"/>
            <a:ext cx="1157500" cy="399392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4FEDF5B1-4497-8A49-859A-18421F5684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76986" y="6490787"/>
            <a:ext cx="4889721" cy="367212"/>
          </a:xfrm>
          <a:prstGeom prst="rect">
            <a:avLst/>
          </a:prstGeom>
        </p:spPr>
        <p:txBody>
          <a:bodyPr anchor="t"/>
          <a:lstStyle>
            <a:lvl1pPr algn="r">
              <a:defRPr sz="1200" b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Dow Restricted</a:t>
            </a:r>
          </a:p>
        </p:txBody>
      </p:sp>
    </p:spTree>
    <p:extLst>
      <p:ext uri="{BB962C8B-B14F-4D97-AF65-F5344CB8AC3E}">
        <p14:creationId xmlns:p14="http://schemas.microsoft.com/office/powerpoint/2010/main" val="1471937997"/>
      </p:ext>
    </p:extLst>
  </p:cSld>
  <p:clrMapOvr>
    <a:masterClrMapping/>
  </p:clrMapOvr>
  <p:hf hdr="0"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688BE2C-4817-8D48-9AE9-1AFB97EBD5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81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AD4B4ECA-A1C2-7A42-891B-4ACFC2BCB6D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3619" y="914400"/>
            <a:ext cx="11263087" cy="5283200"/>
          </a:xfrm>
          <a:prstGeom prst="rect">
            <a:avLst/>
          </a:prstGeom>
        </p:spPr>
        <p:txBody>
          <a:bodyPr/>
          <a:lstStyle>
            <a:lvl1pPr>
              <a:defRPr sz="5333" b="1" i="0">
                <a:latin typeface="Georgia" panose="02040502050405020303" pitchFamily="18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ivider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43B1CCF-1396-3D41-A014-AC6107428D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621" y="6255657"/>
            <a:ext cx="1157500" cy="399392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C21B56E1-131C-D244-BFB2-7ECB19D9F3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76986" y="6490787"/>
            <a:ext cx="4889721" cy="367212"/>
          </a:xfrm>
          <a:prstGeom prst="rect">
            <a:avLst/>
          </a:prstGeom>
        </p:spPr>
        <p:txBody>
          <a:bodyPr anchor="t"/>
          <a:lstStyle>
            <a:lvl1pPr algn="r">
              <a:defRPr sz="1200" b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Dow Restricted</a:t>
            </a:r>
          </a:p>
        </p:txBody>
      </p:sp>
    </p:spTree>
    <p:extLst>
      <p:ext uri="{BB962C8B-B14F-4D97-AF65-F5344CB8AC3E}">
        <p14:creationId xmlns:p14="http://schemas.microsoft.com/office/powerpoint/2010/main" val="366630830"/>
      </p:ext>
    </p:extLst>
  </p:cSld>
  <p:clrMapOvr>
    <a:masterClrMapping/>
  </p:clrMapOvr>
  <p:hf hdr="0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81DE34CD-E61D-4FA8-ACC1-67A1F24A3A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289880"/>
            <a:ext cx="624551" cy="56812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200" b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2B22BB1-91BE-41E5-AFBB-E2ECEFA427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38603" y="6289880"/>
            <a:ext cx="3470229" cy="568120"/>
          </a:xfrm>
          <a:prstGeom prst="rect">
            <a:avLst/>
          </a:prstGeom>
        </p:spPr>
        <p:txBody>
          <a:bodyPr lIns="45720" rIns="4572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ow Restricted</a:t>
            </a:r>
          </a:p>
        </p:txBody>
      </p:sp>
      <p:sp>
        <p:nvSpPr>
          <p:cNvPr id="22" name="Date Placeholder 4">
            <a:extLst>
              <a:ext uri="{FF2B5EF4-FFF2-40B4-BE49-F238E27FC236}">
                <a16:creationId xmlns:a16="http://schemas.microsoft.com/office/drawing/2014/main" id="{C6C6C2DB-CFEA-471E-8F61-D8C09093D1B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289880"/>
            <a:ext cx="3101421" cy="568120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862C1E-A2D1-4E41-AA16-A93D6214A27C}"/>
              </a:ext>
            </a:extLst>
          </p:cNvPr>
          <p:cNvSpPr/>
          <p:nvPr userDrawn="1"/>
        </p:nvSpPr>
        <p:spPr>
          <a:xfrm>
            <a:off x="6107613" y="1"/>
            <a:ext cx="6084388" cy="380164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2" name="Title 10">
            <a:extLst>
              <a:ext uri="{FF2B5EF4-FFF2-40B4-BE49-F238E27FC236}">
                <a16:creationId xmlns:a16="http://schemas.microsoft.com/office/drawing/2014/main" id="{F6A5FF92-11D1-2843-A4C7-A33484788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253" y="663174"/>
            <a:ext cx="11135564" cy="103412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3A313C1-41F3-E24A-9004-F00D19CCA2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3621" y="1833126"/>
            <a:ext cx="11140196" cy="432093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E12E189-7E93-3C43-8F36-B94CE94534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621" y="6255657"/>
            <a:ext cx="1157500" cy="39939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7CB0A7A-37ED-8942-9694-D860F65580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6107612" cy="38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82924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81DE34CD-E61D-4FA8-ACC1-67A1F24A3A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289880"/>
            <a:ext cx="624551" cy="56812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200" b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2B22BB1-91BE-41E5-AFBB-E2ECEFA427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40919" y="6289880"/>
            <a:ext cx="3470229" cy="568120"/>
          </a:xfrm>
          <a:prstGeom prst="rect">
            <a:avLst/>
          </a:prstGeom>
        </p:spPr>
        <p:txBody>
          <a:bodyPr lIns="45720" rIns="4572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ow Restricted</a:t>
            </a:r>
          </a:p>
        </p:txBody>
      </p:sp>
      <p:sp>
        <p:nvSpPr>
          <p:cNvPr id="22" name="Date Placeholder 4">
            <a:extLst>
              <a:ext uri="{FF2B5EF4-FFF2-40B4-BE49-F238E27FC236}">
                <a16:creationId xmlns:a16="http://schemas.microsoft.com/office/drawing/2014/main" id="{C6C6C2DB-CFEA-471E-8F61-D8C09093D1B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289880"/>
            <a:ext cx="3101421" cy="568120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itle 10">
            <a:extLst>
              <a:ext uri="{FF2B5EF4-FFF2-40B4-BE49-F238E27FC236}">
                <a16:creationId xmlns:a16="http://schemas.microsoft.com/office/drawing/2014/main" id="{F6A5FF92-11D1-2843-A4C7-A33484788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253" y="663174"/>
            <a:ext cx="11135564" cy="103412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3A313C1-41F3-E24A-9004-F00D19CCA2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3621" y="1833126"/>
            <a:ext cx="5464655" cy="432093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E12E189-7E93-3C43-8F36-B94CE94534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621" y="6255657"/>
            <a:ext cx="1157500" cy="399392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316547B-CE9D-164D-98BE-87506BB86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62889" y="1833126"/>
            <a:ext cx="5383375" cy="432093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492011D-6660-3941-9F02-BB39AD42EA30}"/>
              </a:ext>
            </a:extLst>
          </p:cNvPr>
          <p:cNvSpPr/>
          <p:nvPr userDrawn="1"/>
        </p:nvSpPr>
        <p:spPr>
          <a:xfrm>
            <a:off x="6107613" y="1"/>
            <a:ext cx="6084388" cy="380164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20127A8-6EB2-5C49-9B37-7E854F2F4F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6107612" cy="38016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8A0F01B-922B-144E-B666-C7137972B530}"/>
              </a:ext>
            </a:extLst>
          </p:cNvPr>
          <p:cNvSpPr txBox="1"/>
          <p:nvPr userDrawn="1"/>
        </p:nvSpPr>
        <p:spPr>
          <a:xfrm>
            <a:off x="4287748" y="2082229"/>
            <a:ext cx="0" cy="0"/>
          </a:xfrm>
          <a:prstGeom prst="rect">
            <a:avLst/>
          </a:prstGeom>
          <a:noFill/>
        </p:spPr>
        <p:txBody>
          <a:bodyPr wrap="none" lIns="60960" rIns="60960" rtlCol="0">
            <a:noAutofit/>
          </a:bodyPr>
          <a:lstStyle/>
          <a:p>
            <a:endParaRPr lang="en-US" sz="1867" dirty="0"/>
          </a:p>
        </p:txBody>
      </p:sp>
    </p:spTree>
    <p:extLst>
      <p:ext uri="{BB962C8B-B14F-4D97-AF65-F5344CB8AC3E}">
        <p14:creationId xmlns:p14="http://schemas.microsoft.com/office/powerpoint/2010/main" val="353400616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8CA9EB8-5002-44B3-B479-64E71033ED4E}"/>
              </a:ext>
            </a:extLst>
          </p:cNvPr>
          <p:cNvSpPr/>
          <p:nvPr/>
        </p:nvSpPr>
        <p:spPr bwMode="white">
          <a:xfrm>
            <a:off x="7050460" y="6484768"/>
            <a:ext cx="5142701" cy="3732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41867" y="2464944"/>
            <a:ext cx="11108267" cy="1470025"/>
          </a:xfrm>
          <a:prstGeom prst="rect">
            <a:avLst/>
          </a:prstGeom>
        </p:spPr>
        <p:txBody>
          <a:bodyPr anchor="ctr"/>
          <a:lstStyle>
            <a:lvl1pPr algn="ctr">
              <a:defRPr sz="4267" cap="sm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Add Presenta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1867" y="4252804"/>
            <a:ext cx="11108267" cy="73152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Author or Presenter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EFA83E1-759B-405B-B68A-9B6C740828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1867" y="5164667"/>
            <a:ext cx="11108267" cy="7302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667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C5B8BF8-52F9-4CD9-BBF5-A931485F4965}"/>
              </a:ext>
            </a:extLst>
          </p:cNvPr>
          <p:cNvSpPr/>
          <p:nvPr/>
        </p:nvSpPr>
        <p:spPr bwMode="white">
          <a:xfrm>
            <a:off x="1" y="6256239"/>
            <a:ext cx="11989961" cy="60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B256C21-EA40-4B0F-97E7-E901D269C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867" y="6484768"/>
            <a:ext cx="11108267" cy="365125"/>
          </a:xfrm>
          <a:prstGeom prst="rect">
            <a:avLst/>
          </a:prstGeom>
        </p:spPr>
        <p:txBody>
          <a:bodyPr anchor="ctr"/>
          <a:lstStyle>
            <a:lvl1pPr algn="ctr">
              <a:defRPr sz="1333" b="1">
                <a:solidFill>
                  <a:srgbClr val="E80032"/>
                </a:solidFill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C2582F6-591A-7448-9FBF-4895DE6A34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4198"/>
            <a:ext cx="12192000" cy="1405467"/>
          </a:xfrm>
          <a:prstGeom prst="rect">
            <a:avLst/>
          </a:prstGeom>
        </p:spPr>
      </p:pic>
      <p:sp>
        <p:nvSpPr>
          <p:cNvPr id="9" name="Text Placeholder 19">
            <a:extLst>
              <a:ext uri="{FF2B5EF4-FFF2-40B4-BE49-F238E27FC236}">
                <a16:creationId xmlns:a16="http://schemas.microsoft.com/office/drawing/2014/main" id="{067C5715-B659-3943-BFF4-A1A1BBF42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96732" y="291154"/>
            <a:ext cx="4048809" cy="3137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FontTx/>
              <a:buNone/>
              <a:defRPr sz="14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Business or Function Name</a:t>
            </a:r>
          </a:p>
        </p:txBody>
      </p:sp>
    </p:spTree>
    <p:extLst>
      <p:ext uri="{BB962C8B-B14F-4D97-AF65-F5344CB8AC3E}">
        <p14:creationId xmlns:p14="http://schemas.microsoft.com/office/powerpoint/2010/main" val="3293422490"/>
      </p:ext>
    </p:extLst>
  </p:cSld>
  <p:clrMapOvr>
    <a:masterClrMapping/>
  </p:clrMapOvr>
  <p:hf hdr="0"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82338223-11A3-CA41-B8D5-2DBAB18786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82400" y="1833126"/>
            <a:ext cx="5491200" cy="4320932"/>
          </a:xfrm>
          <a:prstGeom prst="rect">
            <a:avLst/>
          </a:prstGeom>
        </p:spPr>
      </p:pic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81DE34CD-E61D-4FA8-ACC1-67A1F24A3A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289880"/>
            <a:ext cx="624551" cy="56812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200" b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2B22BB1-91BE-41E5-AFBB-E2ECEFA427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40919" y="6289880"/>
            <a:ext cx="3470229" cy="568120"/>
          </a:xfrm>
          <a:prstGeom prst="rect">
            <a:avLst/>
          </a:prstGeom>
        </p:spPr>
        <p:txBody>
          <a:bodyPr lIns="45720" rIns="4572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ow Restricted</a:t>
            </a:r>
          </a:p>
        </p:txBody>
      </p:sp>
      <p:sp>
        <p:nvSpPr>
          <p:cNvPr id="22" name="Date Placeholder 4">
            <a:extLst>
              <a:ext uri="{FF2B5EF4-FFF2-40B4-BE49-F238E27FC236}">
                <a16:creationId xmlns:a16="http://schemas.microsoft.com/office/drawing/2014/main" id="{C6C6C2DB-CFEA-471E-8F61-D8C09093D1B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289880"/>
            <a:ext cx="3101421" cy="568120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itle 10">
            <a:extLst>
              <a:ext uri="{FF2B5EF4-FFF2-40B4-BE49-F238E27FC236}">
                <a16:creationId xmlns:a16="http://schemas.microsoft.com/office/drawing/2014/main" id="{F6A5FF92-11D1-2843-A4C7-A33484788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253" y="663174"/>
            <a:ext cx="11135564" cy="103412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3A313C1-41F3-E24A-9004-F00D19CCA2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3620" y="1833126"/>
            <a:ext cx="5441432" cy="432093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E12E189-7E93-3C43-8F36-B94CE94534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621" y="6255657"/>
            <a:ext cx="1157500" cy="39939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1238F59-E596-6048-BC64-B5BC77E49536}"/>
              </a:ext>
            </a:extLst>
          </p:cNvPr>
          <p:cNvSpPr/>
          <p:nvPr userDrawn="1"/>
        </p:nvSpPr>
        <p:spPr>
          <a:xfrm>
            <a:off x="6107613" y="1"/>
            <a:ext cx="6084388" cy="380164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AFF8EBE-51DA-6740-B507-29402FE87E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6107612" cy="380163"/>
          </a:xfrm>
          <a:prstGeom prst="rect">
            <a:avLst/>
          </a:prstGeom>
        </p:spPr>
      </p:pic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07D3D34-E363-DF41-8EE8-6D3DE5B16C7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82401" y="3568118"/>
            <a:ext cx="5461415" cy="1140420"/>
          </a:xfrm>
          <a:prstGeom prst="rect">
            <a:avLst/>
          </a:prstGeom>
        </p:spPr>
        <p:txBody>
          <a:bodyPr/>
          <a:lstStyle>
            <a:lvl1pPr algn="ctr">
              <a:defRPr sz="1867" b="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image on master page</a:t>
            </a:r>
          </a:p>
          <a:p>
            <a:pPr lvl="0"/>
            <a:endParaRPr lang="en-US"/>
          </a:p>
          <a:p>
            <a:pPr lvl="0"/>
            <a:r>
              <a:rPr lang="en-US"/>
              <a:t>Right click to “Change Picture”</a:t>
            </a:r>
          </a:p>
        </p:txBody>
      </p:sp>
    </p:spTree>
    <p:extLst>
      <p:ext uri="{BB962C8B-B14F-4D97-AF65-F5344CB8AC3E}">
        <p14:creationId xmlns:p14="http://schemas.microsoft.com/office/powerpoint/2010/main" val="230534836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81DE34CD-E61D-4FA8-ACC1-67A1F24A3A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289880"/>
            <a:ext cx="624551" cy="56812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200" b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2B22BB1-91BE-41E5-AFBB-E2ECEFA427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40919" y="6289880"/>
            <a:ext cx="3470229" cy="568120"/>
          </a:xfrm>
          <a:prstGeom prst="rect">
            <a:avLst/>
          </a:prstGeom>
        </p:spPr>
        <p:txBody>
          <a:bodyPr lIns="45720" rIns="4572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ow Restricted</a:t>
            </a:r>
          </a:p>
        </p:txBody>
      </p:sp>
      <p:sp>
        <p:nvSpPr>
          <p:cNvPr id="22" name="Date Placeholder 4">
            <a:extLst>
              <a:ext uri="{FF2B5EF4-FFF2-40B4-BE49-F238E27FC236}">
                <a16:creationId xmlns:a16="http://schemas.microsoft.com/office/drawing/2014/main" id="{C6C6C2DB-CFEA-471E-8F61-D8C09093D1B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289880"/>
            <a:ext cx="3101421" cy="568120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itle 10">
            <a:extLst>
              <a:ext uri="{FF2B5EF4-FFF2-40B4-BE49-F238E27FC236}">
                <a16:creationId xmlns:a16="http://schemas.microsoft.com/office/drawing/2014/main" id="{F6A5FF92-11D1-2843-A4C7-A33484788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253" y="663174"/>
            <a:ext cx="11135564" cy="103412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E12E189-7E93-3C43-8F36-B94CE94534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621" y="6255657"/>
            <a:ext cx="1157500" cy="399392"/>
          </a:xfrm>
          <a:prstGeom prst="rect">
            <a:avLst/>
          </a:prstGeom>
        </p:spPr>
      </p:pic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AE98C57C-3C33-CE4E-8479-EDA205AE0DE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0277" y="4977791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1482D7EA-AE1C-504E-BE5C-1CA3C70D03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85603" y="4977791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74B8C9E4-FF4F-7B42-873D-83D53A41EC6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05763" y="4977791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BDF50F1-CEDC-9346-82C1-B6F571AC0962}"/>
              </a:ext>
            </a:extLst>
          </p:cNvPr>
          <p:cNvSpPr/>
          <p:nvPr userDrawn="1"/>
        </p:nvSpPr>
        <p:spPr>
          <a:xfrm>
            <a:off x="6107613" y="1"/>
            <a:ext cx="6084388" cy="380164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D31C6F1B-BB7E-1141-A17C-FC3FBDBD68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6107612" cy="380163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390EEB3-DBA8-3F4B-AB47-5B94FE4A6C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277" y="1833126"/>
            <a:ext cx="3540503" cy="3008841"/>
          </a:xfrm>
          <a:prstGeom prst="rect">
            <a:avLst/>
          </a:prstGeom>
        </p:spPr>
      </p:pic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7D51AB65-E48A-4749-8E90-361E78DA63D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0800" y="2839653"/>
            <a:ext cx="2752825" cy="995788"/>
          </a:xfrm>
          <a:prstGeom prst="rect">
            <a:avLst/>
          </a:prstGeom>
        </p:spPr>
        <p:txBody>
          <a:bodyPr/>
          <a:lstStyle>
            <a:lvl1pPr algn="ctr">
              <a:defRPr sz="1600" b="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image on master page.</a:t>
            </a:r>
          </a:p>
          <a:p>
            <a:pPr lvl="0"/>
            <a:endParaRPr lang="en-US"/>
          </a:p>
          <a:p>
            <a:pPr lvl="0"/>
            <a:r>
              <a:rPr lang="en-US"/>
              <a:t>Right click to </a:t>
            </a:r>
            <a:br>
              <a:rPr lang="en-US"/>
            </a:br>
            <a:r>
              <a:rPr lang="en-US"/>
              <a:t>“Change Picture”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5F5D0236-F2EB-CD42-AC87-A9B61F1A55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03477" y="1833126"/>
            <a:ext cx="3540503" cy="3008841"/>
          </a:xfrm>
          <a:prstGeom prst="rect">
            <a:avLst/>
          </a:prstGeom>
        </p:spPr>
      </p:pic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DAF0278A-B33D-A244-AFD5-4B40D51E74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44000" y="2839653"/>
            <a:ext cx="2752825" cy="995788"/>
          </a:xfrm>
          <a:prstGeom prst="rect">
            <a:avLst/>
          </a:prstGeom>
        </p:spPr>
        <p:txBody>
          <a:bodyPr/>
          <a:lstStyle>
            <a:lvl1pPr algn="ctr">
              <a:defRPr sz="1600" b="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image on master page.</a:t>
            </a:r>
          </a:p>
          <a:p>
            <a:pPr lvl="0"/>
            <a:endParaRPr lang="en-US"/>
          </a:p>
          <a:p>
            <a:pPr lvl="0"/>
            <a:r>
              <a:rPr lang="en-US"/>
              <a:t>Right click to </a:t>
            </a:r>
            <a:br>
              <a:rPr lang="en-US"/>
            </a:br>
            <a:r>
              <a:rPr lang="en-US"/>
              <a:t>“Change Picture”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D4D85F12-455E-8847-B18A-E183723BD9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01877" y="1833126"/>
            <a:ext cx="3540503" cy="3008841"/>
          </a:xfrm>
          <a:prstGeom prst="rect">
            <a:avLst/>
          </a:prstGeom>
        </p:spPr>
      </p:pic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80DA5A92-457D-EA4D-ABE2-386A1F75B3C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42400" y="2839653"/>
            <a:ext cx="2752825" cy="995788"/>
          </a:xfrm>
          <a:prstGeom prst="rect">
            <a:avLst/>
          </a:prstGeom>
        </p:spPr>
        <p:txBody>
          <a:bodyPr/>
          <a:lstStyle>
            <a:lvl1pPr algn="ctr">
              <a:defRPr sz="1600" b="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image on master page.</a:t>
            </a:r>
          </a:p>
          <a:p>
            <a:pPr lvl="0"/>
            <a:endParaRPr lang="en-US"/>
          </a:p>
          <a:p>
            <a:pPr lvl="0"/>
            <a:r>
              <a:rPr lang="en-US"/>
              <a:t>Right click to </a:t>
            </a:r>
            <a:br>
              <a:rPr lang="en-US"/>
            </a:br>
            <a:r>
              <a:rPr lang="en-US"/>
              <a:t>“Change Picture”</a:t>
            </a:r>
          </a:p>
        </p:txBody>
      </p:sp>
    </p:spTree>
    <p:extLst>
      <p:ext uri="{BB962C8B-B14F-4D97-AF65-F5344CB8AC3E}">
        <p14:creationId xmlns:p14="http://schemas.microsoft.com/office/powerpoint/2010/main" val="325492100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lus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81DE34CD-E61D-4FA8-ACC1-67A1F24A3A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289880"/>
            <a:ext cx="624551" cy="56812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200" b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2B22BB1-91BE-41E5-AFBB-E2ECEFA427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40919" y="6289880"/>
            <a:ext cx="3470229" cy="568120"/>
          </a:xfrm>
          <a:prstGeom prst="rect">
            <a:avLst/>
          </a:prstGeom>
        </p:spPr>
        <p:txBody>
          <a:bodyPr lIns="45720" rIns="4572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ow Restricted</a:t>
            </a:r>
          </a:p>
        </p:txBody>
      </p:sp>
      <p:sp>
        <p:nvSpPr>
          <p:cNvPr id="22" name="Date Placeholder 4">
            <a:extLst>
              <a:ext uri="{FF2B5EF4-FFF2-40B4-BE49-F238E27FC236}">
                <a16:creationId xmlns:a16="http://schemas.microsoft.com/office/drawing/2014/main" id="{C6C6C2DB-CFEA-471E-8F61-D8C09093D1B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289880"/>
            <a:ext cx="3101421" cy="568120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itle 10">
            <a:extLst>
              <a:ext uri="{FF2B5EF4-FFF2-40B4-BE49-F238E27FC236}">
                <a16:creationId xmlns:a16="http://schemas.microsoft.com/office/drawing/2014/main" id="{F6A5FF92-11D1-2843-A4C7-A33484788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253" y="663174"/>
            <a:ext cx="11135564" cy="103412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E12E189-7E93-3C43-8F36-B94CE94534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621" y="6255657"/>
            <a:ext cx="1157500" cy="399392"/>
          </a:xfrm>
          <a:prstGeom prst="rect">
            <a:avLst/>
          </a:prstGeom>
        </p:spPr>
      </p:pic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AE98C57C-3C33-CE4E-8479-EDA205AE0DE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0277" y="2678725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1482D7EA-AE1C-504E-BE5C-1CA3C70D03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85603" y="2678725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74B8C9E4-FF4F-7B42-873D-83D53A41EC6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05763" y="2678725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ED32447-934C-A747-AD12-8AE8BBE149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277" y="1833126"/>
            <a:ext cx="3552119" cy="70977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lIns="91440" tIns="91440" rIns="91440" bIns="91440" anchor="ctr">
            <a:normAutofit/>
          </a:bodyPr>
          <a:lstStyle>
            <a:lvl1pPr algn="ctr"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2E3BC61D-758B-3645-8A0B-5D39DA32EA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08825" y="1833126"/>
            <a:ext cx="3552119" cy="70977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lIns="91440" tIns="91440" rIns="91440" bIns="91440" anchor="ctr">
            <a:normAutofit/>
          </a:bodyPr>
          <a:lstStyle>
            <a:lvl1pPr algn="ctr"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9AF090C5-E655-504A-828A-FB57F8D13E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94151" y="1833126"/>
            <a:ext cx="3552119" cy="70977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lIns="91440" tIns="91440" rIns="91440" bIns="91440" anchor="ctr">
            <a:normAutofit/>
          </a:bodyPr>
          <a:lstStyle>
            <a:lvl1pPr algn="ctr"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AA9A1A8-B4A9-6B4B-A9C9-1879697036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00277" y="4733948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65E8124-A041-A74D-AD15-DF172FD40FE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285603" y="4733948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9A554E90-1650-294B-9B8F-6657804344E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05763" y="4733948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2959A062-153A-3C43-8B51-D6D990BFD34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00277" y="3888349"/>
            <a:ext cx="3552119" cy="70977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lIns="91440" tIns="91440" rIns="91440" bIns="91440" anchor="ctr">
            <a:normAutofit/>
          </a:bodyPr>
          <a:lstStyle>
            <a:lvl1pPr algn="ctr"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B294AE25-C03F-1E49-BDC4-44AA5E95D5B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08825" y="3888349"/>
            <a:ext cx="3552119" cy="70977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lIns="91440" tIns="91440" rIns="91440" bIns="91440" anchor="ctr">
            <a:normAutofit/>
          </a:bodyPr>
          <a:lstStyle>
            <a:lvl1pPr algn="ctr"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53C0568B-2A75-7540-AEA8-833070C6F5D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094151" y="3888349"/>
            <a:ext cx="3552119" cy="70977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lIns="91440" tIns="91440" rIns="91440" bIns="91440" anchor="ctr">
            <a:normAutofit/>
          </a:bodyPr>
          <a:lstStyle>
            <a:lvl1pPr algn="ctr"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347F3DF-3F1A-9D44-B7F9-D8CAD0CEB051}"/>
              </a:ext>
            </a:extLst>
          </p:cNvPr>
          <p:cNvSpPr/>
          <p:nvPr userDrawn="1"/>
        </p:nvSpPr>
        <p:spPr>
          <a:xfrm>
            <a:off x="6107613" y="1"/>
            <a:ext cx="6084388" cy="380164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116DB48B-07BB-5D4C-9032-B72898B43C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6107612" cy="38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01098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81DE34CD-E61D-4FA8-ACC1-67A1F24A3A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289880"/>
            <a:ext cx="624551" cy="56812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200" b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2B22BB1-91BE-41E5-AFBB-E2ECEFA427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40919" y="6289880"/>
            <a:ext cx="3470229" cy="568120"/>
          </a:xfrm>
          <a:prstGeom prst="rect">
            <a:avLst/>
          </a:prstGeom>
        </p:spPr>
        <p:txBody>
          <a:bodyPr lIns="45720" rIns="4572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ow Restricted</a:t>
            </a:r>
          </a:p>
        </p:txBody>
      </p:sp>
      <p:sp>
        <p:nvSpPr>
          <p:cNvPr id="22" name="Date Placeholder 4">
            <a:extLst>
              <a:ext uri="{FF2B5EF4-FFF2-40B4-BE49-F238E27FC236}">
                <a16:creationId xmlns:a16="http://schemas.microsoft.com/office/drawing/2014/main" id="{C6C6C2DB-CFEA-471E-8F61-D8C09093D1B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289880"/>
            <a:ext cx="3101421" cy="568120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E12E189-7E93-3C43-8F36-B94CE94534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621" y="6255657"/>
            <a:ext cx="1157500" cy="399392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0A2772F0-C74E-7B4D-8F2F-1DEF1C452625}"/>
              </a:ext>
            </a:extLst>
          </p:cNvPr>
          <p:cNvSpPr/>
          <p:nvPr userDrawn="1"/>
        </p:nvSpPr>
        <p:spPr>
          <a:xfrm>
            <a:off x="6107613" y="1"/>
            <a:ext cx="6084388" cy="380164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911438B-833E-8242-8D1E-AD498F413F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6107612" cy="38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12732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D185F9-ACC4-4ECC-B130-7B16B3C4764B}"/>
              </a:ext>
            </a:extLst>
          </p:cNvPr>
          <p:cNvSpPr/>
          <p:nvPr userDrawn="1"/>
        </p:nvSpPr>
        <p:spPr>
          <a:xfrm>
            <a:off x="0" y="6577582"/>
            <a:ext cx="12192000" cy="280417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BC4B5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48EA302-157D-434D-B880-B29B5CC66066}"/>
              </a:ext>
            </a:extLst>
          </p:cNvPr>
          <p:cNvSpPr/>
          <p:nvPr userDrawn="1"/>
        </p:nvSpPr>
        <p:spPr bwMode="white">
          <a:xfrm>
            <a:off x="0" y="6385322"/>
            <a:ext cx="12192000" cy="472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555428"/>
      </p:ext>
    </p:extLst>
  </p:cSld>
  <p:clrMapOvr>
    <a:masterClrMapping/>
  </p:clrMapOvr>
  <p:hf hdr="0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B53440-8382-8D40-BE23-E7E4E78A18AE}"/>
              </a:ext>
            </a:extLst>
          </p:cNvPr>
          <p:cNvSpPr/>
          <p:nvPr userDrawn="1"/>
        </p:nvSpPr>
        <p:spPr>
          <a:xfrm>
            <a:off x="1" y="-933"/>
            <a:ext cx="12192000" cy="1614921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179145E-E781-834A-A4C5-7E1BF41FE0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0292" y="1154438"/>
            <a:ext cx="2694641" cy="92978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FA4DE47-3264-A348-B9BD-3E9F5A67FF0F}"/>
              </a:ext>
            </a:extLst>
          </p:cNvPr>
          <p:cNvSpPr txBox="1"/>
          <p:nvPr userDrawn="1"/>
        </p:nvSpPr>
        <p:spPr>
          <a:xfrm>
            <a:off x="2415178" y="3262812"/>
            <a:ext cx="7361647" cy="2194560"/>
          </a:xfrm>
          <a:prstGeom prst="rect">
            <a:avLst/>
          </a:prstGeom>
          <a:noFill/>
        </p:spPr>
        <p:txBody>
          <a:bodyPr wrap="square" lIns="60960" rIns="60960" rtlCol="0">
            <a:noAutofit/>
          </a:bodyPr>
          <a:lstStyle/>
          <a:p>
            <a:pPr algn="ctr"/>
            <a:r>
              <a:rPr lang="en-US" sz="8000" dirty="0">
                <a:solidFill>
                  <a:schemeClr val="tx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235983480"/>
      </p:ext>
    </p:extLst>
  </p:cSld>
  <p:clrMapOvr>
    <a:masterClrMapping/>
  </p:clrMapOvr>
  <p:hf hdr="0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ek Toget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FE5E1C6-ACAD-3D42-8AF4-1B1EB20389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282" r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528143"/>
      </p:ext>
    </p:extLst>
  </p:cSld>
  <p:clrMapOvr>
    <a:masterClrMapping/>
  </p:clrMapOvr>
  <p:hf hdr="0"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>
            <a:spLocks/>
          </p:cNvSpPr>
          <p:nvPr/>
        </p:nvSpPr>
        <p:spPr bwMode="auto">
          <a:xfrm>
            <a:off x="474133" y="6280155"/>
            <a:ext cx="38608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GB" sz="1100" b="1" dirty="0">
                <a:solidFill>
                  <a:srgbClr val="FF0000"/>
                </a:solidFill>
                <a:latin typeface="Theinhardt" charset="0"/>
              </a:rPr>
              <a:t>The Dow Chemical </a:t>
            </a:r>
            <a:r>
              <a:rPr lang="en-GB" sz="1100" b="1" dirty="0">
                <a:solidFill>
                  <a:srgbClr val="FF0000"/>
                </a:solidFill>
              </a:rPr>
              <a:t>Company</a:t>
            </a:r>
          </a:p>
        </p:txBody>
      </p:sp>
      <p:pic>
        <p:nvPicPr>
          <p:cNvPr id="5" name="Picture 8" descr="Dow logo 200 1.6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5671" y="241301"/>
            <a:ext cx="1951567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046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96900" y="2133600"/>
            <a:ext cx="10998200" cy="1143000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6000" smtClean="0">
                <a:latin typeface="Arial" pitchFamily="34" charset="0"/>
                <a:ea typeface="ＭＳ Ｐゴシック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046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96900" y="5414963"/>
            <a:ext cx="10998200" cy="673100"/>
          </a:xfrm>
          <a:prstGeom prst="rect">
            <a:avLst/>
          </a:prstGeom>
        </p:spPr>
        <p:txBody>
          <a:bodyPr/>
          <a:lstStyle>
            <a:lvl1pPr>
              <a:lnSpc>
                <a:spcPct val="95000"/>
              </a:lnSpc>
              <a:defRPr smtClean="0">
                <a:latin typeface="Arial" pitchFamily="34" charset="0"/>
                <a:ea typeface="ＭＳ Ｐゴシック" pitchFamily="34" charset="-128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721374"/>
      </p:ext>
    </p:extLst>
  </p:cSld>
  <p:clrMapOvr>
    <a:masterClrMapping/>
  </p:clrMapOvr>
  <p:transition/>
  <p:hf hdr="0" dt="0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Dow logo 200 0.8.png">
            <a:extLst>
              <a:ext uri="{FF2B5EF4-FFF2-40B4-BE49-F238E27FC236}">
                <a16:creationId xmlns:a16="http://schemas.microsoft.com/office/drawing/2014/main" id="{6481B3E0-D595-433C-9404-85F05FE15F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7788" y="6391275"/>
            <a:ext cx="975783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7FFCD9B-8D37-4BE3-9DC0-D83D5523B6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117" y="493718"/>
            <a:ext cx="472017" cy="160337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defRPr/>
            </a:pPr>
            <a:endParaRPr lang="en-GB" altLang="en-US" sz="18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19951"/>
            <a:ext cx="8168216" cy="102785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5125" y="1477778"/>
            <a:ext cx="8181164" cy="433723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8647BADA-89F8-4BD8-9029-D4B4D1BEC3C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auto">
          <a:xfrm>
            <a:off x="3141138" y="6448430"/>
            <a:ext cx="5659967" cy="1365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D7CA1B6-52E2-47EF-807A-88A1387BD9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auto">
          <a:xfrm>
            <a:off x="11281833" y="6448430"/>
            <a:ext cx="304800" cy="1365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FF5D5FA-19AB-445F-9980-7881A76EE93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2907971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Full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7CA811C-BB89-436A-9695-BEDB3CB4CEAD}"/>
              </a:ext>
            </a:extLst>
          </p:cNvPr>
          <p:cNvSpPr/>
          <p:nvPr userDrawn="1"/>
        </p:nvSpPr>
        <p:spPr>
          <a:xfrm>
            <a:off x="-2117" y="493718"/>
            <a:ext cx="472017" cy="1603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20690"/>
            <a:ext cx="10972800" cy="10699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6" y="1476591"/>
            <a:ext cx="6908799" cy="4343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44447"/>
                </a:solidFill>
              </a:defRPr>
            </a:lvl1pPr>
            <a:lvl2pPr>
              <a:defRPr>
                <a:solidFill>
                  <a:srgbClr val="344447"/>
                </a:solidFill>
              </a:defRPr>
            </a:lvl2pPr>
            <a:lvl3pPr>
              <a:defRPr>
                <a:solidFill>
                  <a:srgbClr val="344447"/>
                </a:solidFill>
              </a:defRPr>
            </a:lvl3pPr>
            <a:lvl4pPr>
              <a:defRPr>
                <a:solidFill>
                  <a:srgbClr val="344447"/>
                </a:solidFill>
              </a:defRPr>
            </a:lvl4pPr>
            <a:lvl5pPr>
              <a:defRPr>
                <a:solidFill>
                  <a:srgbClr val="34444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7823205" y="1476591"/>
            <a:ext cx="3759199" cy="4343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44447"/>
                </a:solidFill>
              </a:defRPr>
            </a:lvl1pPr>
            <a:lvl2pPr>
              <a:defRPr>
                <a:solidFill>
                  <a:srgbClr val="344447"/>
                </a:solidFill>
              </a:defRPr>
            </a:lvl2pPr>
            <a:lvl3pPr>
              <a:defRPr>
                <a:solidFill>
                  <a:srgbClr val="344447"/>
                </a:solidFill>
              </a:defRPr>
            </a:lvl3pPr>
            <a:lvl4pPr>
              <a:defRPr>
                <a:solidFill>
                  <a:srgbClr val="344447"/>
                </a:solidFill>
              </a:defRPr>
            </a:lvl4pPr>
            <a:lvl5pPr>
              <a:defRPr>
                <a:solidFill>
                  <a:srgbClr val="34444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C7A7CE-841D-4D64-BB8C-82BE5F1D369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7600" y="6457951"/>
            <a:ext cx="304800" cy="1143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800"/>
            </a:lvl1pPr>
          </a:lstStyle>
          <a:p>
            <a:pPr>
              <a:defRPr/>
            </a:pPr>
            <a:fld id="{C543514A-809E-4BA3-8054-E1D1F570DC1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926554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653C7BE-DC16-6F41-B6A8-5B2FA95887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7420337" cy="685999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449834D-5BF0-4383-A5C0-92EA2E18C4F2}"/>
              </a:ext>
            </a:extLst>
          </p:cNvPr>
          <p:cNvSpPr/>
          <p:nvPr userDrawn="1"/>
        </p:nvSpPr>
        <p:spPr bwMode="white">
          <a:xfrm>
            <a:off x="7049299" y="6485903"/>
            <a:ext cx="5142701" cy="3732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702DBBA-618C-4D4A-ACD4-CA44E0EBB0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41293" y="1786537"/>
            <a:ext cx="5408840" cy="1470025"/>
          </a:xfrm>
          <a:prstGeom prst="rect">
            <a:avLst/>
          </a:prstGeom>
        </p:spPr>
        <p:txBody>
          <a:bodyPr anchor="ctr"/>
          <a:lstStyle>
            <a:lvl1pPr algn="l">
              <a:defRPr sz="4267" cap="small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52708418-7C95-49FF-B4E2-AE65988602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41293" y="3404156"/>
            <a:ext cx="5408840" cy="157886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3200" cap="none" baseline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641E31E-CC97-496E-93D2-9230148497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1292" y="6485903"/>
            <a:ext cx="5408841" cy="365760"/>
          </a:xfrm>
          <a:prstGeom prst="rect">
            <a:avLst/>
          </a:prstGeom>
        </p:spPr>
        <p:txBody>
          <a:bodyPr anchor="ctr"/>
          <a:lstStyle>
            <a:lvl1pPr algn="l">
              <a:defRPr sz="1333" b="1">
                <a:solidFill>
                  <a:srgbClr val="E80032"/>
                </a:solidFill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5B87260-881A-4E93-B30E-EC757B7637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357" y="5070741"/>
            <a:ext cx="5411777" cy="56806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067C5715-B659-3943-BFF4-A1A1BBF42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29417" y="291154"/>
            <a:ext cx="4787843" cy="3137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FontTx/>
              <a:buNone/>
              <a:defRPr sz="14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Business or Function Name</a:t>
            </a:r>
          </a:p>
        </p:txBody>
      </p:sp>
    </p:spTree>
    <p:extLst>
      <p:ext uri="{BB962C8B-B14F-4D97-AF65-F5344CB8AC3E}">
        <p14:creationId xmlns:p14="http://schemas.microsoft.com/office/powerpoint/2010/main" val="2697719633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8CA9EB8-5002-44B3-B479-64E71033ED4E}"/>
              </a:ext>
            </a:extLst>
          </p:cNvPr>
          <p:cNvSpPr/>
          <p:nvPr/>
        </p:nvSpPr>
        <p:spPr bwMode="white">
          <a:xfrm>
            <a:off x="7050460" y="6484768"/>
            <a:ext cx="5142701" cy="3732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41867" y="2611405"/>
            <a:ext cx="11108267" cy="1470025"/>
          </a:xfrm>
          <a:prstGeom prst="rect">
            <a:avLst/>
          </a:prstGeom>
        </p:spPr>
        <p:txBody>
          <a:bodyPr anchor="ctr"/>
          <a:lstStyle>
            <a:lvl1pPr algn="ctr">
              <a:defRPr sz="4267" cap="sm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Add Presenta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1867" y="4420452"/>
            <a:ext cx="11108267" cy="73152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Author or Presenter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EFA83E1-759B-405B-B68A-9B6C740828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1867" y="5164667"/>
            <a:ext cx="11108267" cy="7302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667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C5B8BF8-52F9-4CD9-BBF5-A931485F4965}"/>
              </a:ext>
            </a:extLst>
          </p:cNvPr>
          <p:cNvSpPr/>
          <p:nvPr/>
        </p:nvSpPr>
        <p:spPr bwMode="white">
          <a:xfrm>
            <a:off x="1" y="6256239"/>
            <a:ext cx="11989961" cy="60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B256C21-EA40-4B0F-97E7-E901D269C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867" y="6484768"/>
            <a:ext cx="11108267" cy="365125"/>
          </a:xfrm>
          <a:prstGeom prst="rect">
            <a:avLst/>
          </a:prstGeom>
        </p:spPr>
        <p:txBody>
          <a:bodyPr anchor="ctr"/>
          <a:lstStyle>
            <a:lvl1pPr algn="ctr">
              <a:defRPr sz="1333" b="1">
                <a:solidFill>
                  <a:srgbClr val="E80032"/>
                </a:solidFill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9F1A0B-AAE6-8140-AE4E-1EDC6054DA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0144" y="0"/>
            <a:ext cx="6101189" cy="190662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4C786C2-7050-E241-9BB1-B64ED869C3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120144" cy="1906621"/>
          </a:xfrm>
          <a:prstGeom prst="rect">
            <a:avLst/>
          </a:prstGeom>
        </p:spPr>
      </p:pic>
      <p:sp>
        <p:nvSpPr>
          <p:cNvPr id="18" name="Text Placeholder 19">
            <a:extLst>
              <a:ext uri="{FF2B5EF4-FFF2-40B4-BE49-F238E27FC236}">
                <a16:creationId xmlns:a16="http://schemas.microsoft.com/office/drawing/2014/main" id="{2D2CD543-92A5-B742-B0EC-B295F1AAD8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94616" y="2014919"/>
            <a:ext cx="4271016" cy="3565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FontTx/>
              <a:buNone/>
              <a:defRPr sz="1467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Optional Business or Function Nam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67EA610-14B3-774C-9051-26ADEA1D6AA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2162" y="1455305"/>
            <a:ext cx="2615965" cy="90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040431"/>
      </p:ext>
    </p:extLst>
  </p:cSld>
  <p:clrMapOvr>
    <a:masterClrMapping/>
  </p:clrMapOvr>
  <p:hf hdr="0"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Logo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CB978F2-E9DC-43A6-A84F-48F54FD5547E}"/>
              </a:ext>
            </a:extLst>
          </p:cNvPr>
          <p:cNvSpPr>
            <a:spLocks noGrp="1"/>
          </p:cNvSpPr>
          <p:nvPr userDrawn="1">
            <p:ph idx="1" hasCustomPrompt="1"/>
          </p:nvPr>
        </p:nvSpPr>
        <p:spPr>
          <a:xfrm>
            <a:off x="541867" y="1064203"/>
            <a:ext cx="11106151" cy="5283200"/>
          </a:xfrm>
          <a:prstGeom prst="rect">
            <a:avLst/>
          </a:prstGeom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400">
                <a:solidFill>
                  <a:schemeClr val="accent6"/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133">
                <a:solidFill>
                  <a:schemeClr val="accent6"/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1867">
                <a:solidFill>
                  <a:schemeClr val="accent6"/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 userDrawn="1"/>
        </p:nvCxnSpPr>
        <p:spPr>
          <a:xfrm>
            <a:off x="541865" y="876191"/>
            <a:ext cx="11106912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B49CFD2F-36B8-0841-B2EB-F5F312EEE3F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41485" y="305904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2667" cap="none" baseline="0" dirty="0">
                <a:solidFill>
                  <a:schemeClr val="accent6"/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257613C-7DBA-DF46-828F-7960AAE83C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067" b="1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 descr="A picture containing curtain&#10;&#10;Description automatically generated">
            <a:extLst>
              <a:ext uri="{FF2B5EF4-FFF2-40B4-BE49-F238E27FC236}">
                <a16:creationId xmlns:a16="http://schemas.microsoft.com/office/drawing/2014/main" id="{040DEE32-4C34-AA41-8562-C9A81FCA66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9454"/>
            <a:ext cx="12202553" cy="181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671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extLst>
    <p:ext uri="{DCECCB84-F9BA-43D5-87BE-67443E8EF086}">
      <p15:sldGuideLst xmlns:p15="http://schemas.microsoft.com/office/powerpoint/2012/main"/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8426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36963" y="3564819"/>
            <a:ext cx="9518073" cy="1477328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800" b="1" baseline="0">
                <a:solidFill>
                  <a:srgbClr val="404040"/>
                </a:solidFill>
                <a:latin typeface="Georgia" panose="02040502050405020303" pitchFamily="18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Same. Capitalize Each Word</a:t>
            </a:r>
          </a:p>
        </p:txBody>
      </p:sp>
      <p:grpSp>
        <p:nvGrpSpPr>
          <p:cNvPr id="16" name="object 3"/>
          <p:cNvGrpSpPr/>
          <p:nvPr userDrawn="1"/>
        </p:nvGrpSpPr>
        <p:grpSpPr>
          <a:xfrm>
            <a:off x="6096" y="4063"/>
            <a:ext cx="12180147" cy="1524000"/>
            <a:chOff x="4572" y="3047"/>
            <a:chExt cx="9135110" cy="1143000"/>
          </a:xfrm>
        </p:grpSpPr>
        <p:sp>
          <p:nvSpPr>
            <p:cNvPr id="17" name="object 4"/>
            <p:cNvSpPr/>
            <p:nvPr/>
          </p:nvSpPr>
          <p:spPr>
            <a:xfrm>
              <a:off x="4543043" y="3047"/>
              <a:ext cx="4596765" cy="1143000"/>
            </a:xfrm>
            <a:custGeom>
              <a:avLst/>
              <a:gdLst/>
              <a:ahLst/>
              <a:cxnLst/>
              <a:rect l="l" t="t" r="r" b="b"/>
              <a:pathLst>
                <a:path w="4596765" h="1143000">
                  <a:moveTo>
                    <a:pt x="4596384" y="0"/>
                  </a:moveTo>
                  <a:lnTo>
                    <a:pt x="0" y="0"/>
                  </a:lnTo>
                  <a:lnTo>
                    <a:pt x="0" y="1143000"/>
                  </a:lnTo>
                  <a:lnTo>
                    <a:pt x="4596384" y="1143000"/>
                  </a:lnTo>
                  <a:lnTo>
                    <a:pt x="4596384" y="0"/>
                  </a:lnTo>
                  <a:close/>
                </a:path>
              </a:pathLst>
            </a:custGeom>
            <a:solidFill>
              <a:srgbClr val="42536C"/>
            </a:solidFill>
          </p:spPr>
          <p:txBody>
            <a:bodyPr wrap="square" lIns="0" tIns="0" rIns="0" bIns="0" rtlCol="0"/>
            <a:lstStyle/>
            <a:p>
              <a:endParaRPr sz="320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pic>
          <p:nvPicPr>
            <p:cNvPr id="19" name="object 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572" y="3048"/>
              <a:ext cx="4540676" cy="1142744"/>
            </a:xfrm>
            <a:prstGeom prst="rect">
              <a:avLst/>
            </a:prstGeom>
          </p:spPr>
        </p:pic>
        <p:pic>
          <p:nvPicPr>
            <p:cNvPr id="23" name="object 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643883" y="272796"/>
              <a:ext cx="1790699" cy="589787"/>
            </a:xfrm>
            <a:prstGeom prst="rect">
              <a:avLst/>
            </a:prstGeom>
          </p:spPr>
        </p:pic>
      </p:grpSp>
      <p:sp>
        <p:nvSpPr>
          <p:cNvPr id="24" name="bg object 18"/>
          <p:cNvSpPr/>
          <p:nvPr userDrawn="1"/>
        </p:nvSpPr>
        <p:spPr>
          <a:xfrm>
            <a:off x="6096" y="6289056"/>
            <a:ext cx="12180147" cy="565573"/>
          </a:xfrm>
          <a:custGeom>
            <a:avLst/>
            <a:gdLst/>
            <a:ahLst/>
            <a:cxnLst/>
            <a:rect l="l" t="t" r="r" b="b"/>
            <a:pathLst>
              <a:path w="9135110" h="424179">
                <a:moveTo>
                  <a:pt x="9134856" y="0"/>
                </a:moveTo>
                <a:lnTo>
                  <a:pt x="0" y="0"/>
                </a:lnTo>
                <a:lnTo>
                  <a:pt x="0" y="423659"/>
                </a:lnTo>
                <a:lnTo>
                  <a:pt x="9134856" y="423659"/>
                </a:lnTo>
                <a:lnTo>
                  <a:pt x="9134856" y="0"/>
                </a:lnTo>
                <a:close/>
              </a:path>
            </a:pathLst>
          </a:custGeom>
          <a:solidFill>
            <a:srgbClr val="42536C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336963" y="2681787"/>
            <a:ext cx="9518073" cy="757130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 algn="ctr">
              <a:lnSpc>
                <a:spcPct val="100000"/>
              </a:lnSpc>
              <a:spcBef>
                <a:spcPts val="600"/>
              </a:spcBef>
              <a:defRPr sz="4800" b="1" baseline="0">
                <a:solidFill>
                  <a:srgbClr val="E80032"/>
                </a:solidFill>
                <a:latin typeface="Georgia" panose="02040502050405020303" pitchFamily="18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Title in Georgia Font 48</a:t>
            </a:r>
          </a:p>
        </p:txBody>
      </p:sp>
    </p:spTree>
    <p:extLst>
      <p:ext uri="{BB962C8B-B14F-4D97-AF65-F5344CB8AC3E}">
        <p14:creationId xmlns:p14="http://schemas.microsoft.com/office/powerpoint/2010/main" val="4039682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2789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526721" y="2903631"/>
            <a:ext cx="7138555" cy="738664"/>
          </a:xfrm>
        </p:spPr>
        <p:txBody>
          <a:bodyPr lIns="0" tIns="0" rIns="0" bIns="0"/>
          <a:lstStyle>
            <a:lvl1pPr>
              <a:defRPr sz="4800" b="1" i="0">
                <a:solidFill>
                  <a:srgbClr val="EA001A"/>
                </a:solidFill>
                <a:latin typeface="Georgia" panose="02040502050405020303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485136" y="1578863"/>
            <a:ext cx="7410873" cy="276999"/>
          </a:xfrm>
        </p:spPr>
        <p:txBody>
          <a:bodyPr lIns="0" tIns="0" rIns="0" bIns="0"/>
          <a:lstStyle>
            <a:lvl1pPr>
              <a:defRPr sz="18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/>
          </a:p>
        </p:txBody>
      </p:sp>
      <p:sp>
        <p:nvSpPr>
          <p:cNvPr id="10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1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2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bg object 19"/>
          <p:cNvSpPr/>
          <p:nvPr userDrawn="1"/>
        </p:nvSpPr>
        <p:spPr>
          <a:xfrm>
            <a:off x="542545" y="701040"/>
            <a:ext cx="11107420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8121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720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bg object 19"/>
          <p:cNvSpPr/>
          <p:nvPr/>
        </p:nvSpPr>
        <p:spPr>
          <a:xfrm>
            <a:off x="542545" y="701040"/>
            <a:ext cx="11107420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581151" y="1048511"/>
            <a:ext cx="5127413" cy="4954693"/>
          </a:xfrm>
          <a:custGeom>
            <a:avLst/>
            <a:gdLst/>
            <a:ahLst/>
            <a:cxnLst/>
            <a:rect l="l" t="t" r="r" b="b"/>
            <a:pathLst>
              <a:path w="3845560" h="3716020">
                <a:moveTo>
                  <a:pt x="0" y="0"/>
                </a:moveTo>
                <a:lnTo>
                  <a:pt x="3845052" y="0"/>
                </a:lnTo>
                <a:lnTo>
                  <a:pt x="3845052" y="3715512"/>
                </a:lnTo>
                <a:lnTo>
                  <a:pt x="0" y="3715512"/>
                </a:lnTo>
                <a:lnTo>
                  <a:pt x="0" y="0"/>
                </a:lnTo>
                <a:close/>
              </a:path>
            </a:pathLst>
          </a:custGeom>
          <a:ln w="57912">
            <a:solidFill>
              <a:srgbClr val="EAEBEA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6516624" y="1798319"/>
            <a:ext cx="5127413" cy="4005580"/>
          </a:xfrm>
          <a:custGeom>
            <a:avLst/>
            <a:gdLst/>
            <a:ahLst/>
            <a:cxnLst/>
            <a:rect l="l" t="t" r="r" b="b"/>
            <a:pathLst>
              <a:path w="3845559" h="3004185">
                <a:moveTo>
                  <a:pt x="3845039" y="0"/>
                </a:moveTo>
                <a:lnTo>
                  <a:pt x="0" y="0"/>
                </a:lnTo>
                <a:lnTo>
                  <a:pt x="0" y="120396"/>
                </a:lnTo>
                <a:lnTo>
                  <a:pt x="0" y="3003804"/>
                </a:lnTo>
                <a:lnTo>
                  <a:pt x="3845039" y="3003804"/>
                </a:lnTo>
                <a:lnTo>
                  <a:pt x="3845039" y="120396"/>
                </a:lnTo>
                <a:lnTo>
                  <a:pt x="3845039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6516624" y="1798321"/>
            <a:ext cx="5127413" cy="4005580"/>
          </a:xfrm>
          <a:custGeom>
            <a:avLst/>
            <a:gdLst/>
            <a:ahLst/>
            <a:cxnLst/>
            <a:rect l="l" t="t" r="r" b="b"/>
            <a:pathLst>
              <a:path w="3845559" h="3004185">
                <a:moveTo>
                  <a:pt x="0" y="0"/>
                </a:moveTo>
                <a:lnTo>
                  <a:pt x="3845051" y="0"/>
                </a:lnTo>
                <a:lnTo>
                  <a:pt x="3845051" y="3003804"/>
                </a:lnTo>
                <a:lnTo>
                  <a:pt x="0" y="3003804"/>
                </a:lnTo>
                <a:lnTo>
                  <a:pt x="0" y="0"/>
                </a:lnTo>
                <a:close/>
              </a:path>
            </a:pathLst>
          </a:custGeom>
          <a:ln w="57912">
            <a:solidFill>
              <a:srgbClr val="EAEBEA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526721" y="2903631"/>
            <a:ext cx="7138555" cy="738664"/>
          </a:xfrm>
        </p:spPr>
        <p:txBody>
          <a:bodyPr lIns="0" tIns="0" rIns="0" bIns="0"/>
          <a:lstStyle>
            <a:lvl1pPr>
              <a:defRPr sz="4800" b="1" i="0">
                <a:solidFill>
                  <a:srgbClr val="EA001A"/>
                </a:solidFill>
                <a:latin typeface="Georgia" panose="02040502050405020303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89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698047" y="2041244"/>
            <a:ext cx="4831927" cy="289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rgbClr val="40404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/>
          </a:p>
        </p:txBody>
      </p:sp>
      <p:sp>
        <p:nvSpPr>
          <p:cNvPr id="15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3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24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6890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lient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6838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526721" y="2903631"/>
            <a:ext cx="7138555" cy="738664"/>
          </a:xfrm>
        </p:spPr>
        <p:txBody>
          <a:bodyPr lIns="0" tIns="0" rIns="0" bIns="0"/>
          <a:lstStyle>
            <a:lvl1pPr>
              <a:defRPr sz="4800" b="1" i="0">
                <a:solidFill>
                  <a:srgbClr val="EA001A"/>
                </a:solidFill>
                <a:latin typeface="Georgia" panose="02040502050405020303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/>
          </a:p>
        </p:txBody>
      </p:sp>
      <p:sp>
        <p:nvSpPr>
          <p:cNvPr id="9" name="bg object 19"/>
          <p:cNvSpPr/>
          <p:nvPr userDrawn="1"/>
        </p:nvSpPr>
        <p:spPr>
          <a:xfrm>
            <a:off x="542545" y="701040"/>
            <a:ext cx="11107420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bg object 18"/>
          <p:cNvSpPr/>
          <p:nvPr userDrawn="1"/>
        </p:nvSpPr>
        <p:spPr>
          <a:xfrm>
            <a:off x="6096" y="6289056"/>
            <a:ext cx="12180147" cy="565573"/>
          </a:xfrm>
          <a:custGeom>
            <a:avLst/>
            <a:gdLst/>
            <a:ahLst/>
            <a:cxnLst/>
            <a:rect l="l" t="t" r="r" b="b"/>
            <a:pathLst>
              <a:path w="9135110" h="424179">
                <a:moveTo>
                  <a:pt x="9134856" y="0"/>
                </a:moveTo>
                <a:lnTo>
                  <a:pt x="0" y="0"/>
                </a:lnTo>
                <a:lnTo>
                  <a:pt x="0" y="423659"/>
                </a:lnTo>
                <a:lnTo>
                  <a:pt x="9134856" y="423659"/>
                </a:lnTo>
                <a:lnTo>
                  <a:pt x="9134856" y="0"/>
                </a:lnTo>
                <a:close/>
              </a:path>
            </a:pathLst>
          </a:custGeom>
          <a:solidFill>
            <a:srgbClr val="42536C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1109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li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1916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7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bg object 19"/>
          <p:cNvSpPr/>
          <p:nvPr userDrawn="1"/>
        </p:nvSpPr>
        <p:spPr>
          <a:xfrm>
            <a:off x="542545" y="701040"/>
            <a:ext cx="11107420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1595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4970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10934700" cy="509541"/>
          </a:xfrm>
          <a:prstGeom prst="rect">
            <a:avLst/>
          </a:prstGeom>
        </p:spPr>
        <p:txBody>
          <a:bodyPr vert="horz" wrap="square" lIns="0" tIns="18288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bg object 19"/>
          <p:cNvSpPr/>
          <p:nvPr userDrawn="1"/>
        </p:nvSpPr>
        <p:spPr>
          <a:xfrm>
            <a:off x="628650" y="701040"/>
            <a:ext cx="10953752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9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20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6697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9442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10934700" cy="509541"/>
          </a:xfrm>
        </p:spPr>
        <p:txBody>
          <a:bodyPr vert="horz"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9" name="bg object 19"/>
          <p:cNvSpPr/>
          <p:nvPr userDrawn="1"/>
        </p:nvSpPr>
        <p:spPr>
          <a:xfrm>
            <a:off x="628650" y="701040"/>
            <a:ext cx="10953752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1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2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342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4542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2865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6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7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793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7871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924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8CA9EB8-5002-44B3-B479-64E71033ED4E}"/>
              </a:ext>
            </a:extLst>
          </p:cNvPr>
          <p:cNvSpPr/>
          <p:nvPr/>
        </p:nvSpPr>
        <p:spPr bwMode="white">
          <a:xfrm>
            <a:off x="7050460" y="6484768"/>
            <a:ext cx="5142701" cy="3732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41867" y="2611405"/>
            <a:ext cx="11108267" cy="1470025"/>
          </a:xfrm>
          <a:prstGeom prst="rect">
            <a:avLst/>
          </a:prstGeom>
        </p:spPr>
        <p:txBody>
          <a:bodyPr anchor="ctr"/>
          <a:lstStyle>
            <a:lvl1pPr algn="ctr">
              <a:defRPr sz="4267" cap="sm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Add Presenta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1867" y="4420452"/>
            <a:ext cx="11108267" cy="73152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Author or Presenter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EFA83E1-759B-405B-B68A-9B6C740828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1867" y="5164667"/>
            <a:ext cx="11108267" cy="7302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667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C5B8BF8-52F9-4CD9-BBF5-A931485F4965}"/>
              </a:ext>
            </a:extLst>
          </p:cNvPr>
          <p:cNvSpPr/>
          <p:nvPr/>
        </p:nvSpPr>
        <p:spPr bwMode="white">
          <a:xfrm>
            <a:off x="1" y="6256239"/>
            <a:ext cx="11989961" cy="60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B256C21-EA40-4B0F-97E7-E901D269C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867" y="6484768"/>
            <a:ext cx="11108267" cy="365125"/>
          </a:xfrm>
          <a:prstGeom prst="rect">
            <a:avLst/>
          </a:prstGeom>
        </p:spPr>
        <p:txBody>
          <a:bodyPr anchor="ctr"/>
          <a:lstStyle>
            <a:lvl1pPr algn="ctr">
              <a:defRPr sz="1333" b="1">
                <a:solidFill>
                  <a:srgbClr val="E80032"/>
                </a:solidFill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2793692-3B2E-854C-B9AE-EFDDDC678D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2"/>
            <a:ext cx="12191999" cy="1290385"/>
          </a:xfrm>
          <a:prstGeom prst="rect">
            <a:avLst/>
          </a:prstGeom>
        </p:spPr>
      </p:pic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631C4B46-FD68-2347-9FC3-FB62C9D386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46801" y="825496"/>
            <a:ext cx="5542980" cy="4648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FontTx/>
              <a:buNone/>
              <a:defRPr sz="18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ptional Business or Function Nam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6C77F5B-0D90-034A-849B-A50B854966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226" y="839071"/>
            <a:ext cx="2615965" cy="90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107150"/>
      </p:ext>
    </p:extLst>
  </p:cSld>
  <p:clrMapOvr>
    <a:masterClrMapping/>
  </p:clrMapOvr>
  <p:hf hdr="0"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4161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7746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621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727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125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6256800" cy="509541"/>
          </a:xfrm>
          <a:prstGeom prst="rect">
            <a:avLst/>
          </a:prstGeom>
        </p:spPr>
        <p:txBody>
          <a:bodyPr vert="horz" wrap="square" lIns="0" tIns="18288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6697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463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4095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0579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3533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1902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719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5756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2158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194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8048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6251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8864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2462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5" name="TextBox 14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9837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81DE34CD-E61D-4FA8-ACC1-67A1F24A3A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2B22BB1-91BE-41E5-AFBB-E2ECEFA427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0F091FA-7E86-9541-ACB9-96516A4C358F}"/>
              </a:ext>
            </a:extLst>
          </p:cNvPr>
          <p:cNvGrpSpPr/>
          <p:nvPr userDrawn="1"/>
        </p:nvGrpSpPr>
        <p:grpSpPr>
          <a:xfrm>
            <a:off x="-12671" y="1"/>
            <a:ext cx="12215224" cy="172327"/>
            <a:chOff x="-9503" y="0"/>
            <a:chExt cx="9161418" cy="129245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7CB0A7A-37ED-8942-9694-D860F655807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9503" y="776"/>
              <a:ext cx="4580709" cy="128469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04954C6-4E1B-D14C-87AD-59FAD735FF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V="1">
              <a:off x="4571206" y="0"/>
              <a:ext cx="4580709" cy="129245"/>
            </a:xfrm>
            <a:prstGeom prst="rect">
              <a:avLst/>
            </a:prstGeom>
          </p:spPr>
        </p:pic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CC3FADD-37BD-9C4B-9927-5B2CF7E2D4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070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264436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3169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4673646" cy="509541"/>
          </a:xfrm>
          <a:prstGeom prst="rect">
            <a:avLst/>
          </a:prstGeom>
        </p:spPr>
        <p:txBody>
          <a:bodyPr vert="horz" wrap="square" lIns="0" tIns="18288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3925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0708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4673646" cy="509541"/>
          </a:xfrm>
          <a:prstGeom prst="rect">
            <a:avLst/>
          </a:prstGeom>
        </p:spPr>
        <p:txBody>
          <a:bodyPr vert="horz" wrap="square" lIns="0" tIns="18288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8" name="TextBox 1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6436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2292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6256800" cy="509541"/>
          </a:xfrm>
          <a:prstGeom prst="rect">
            <a:avLst/>
          </a:prstGeom>
        </p:spPr>
        <p:txBody>
          <a:bodyPr vert="horz" wrap="square" lIns="0" tIns="18288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13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288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6256800" cy="509541"/>
          </a:xfrm>
          <a:prstGeom prst="rect">
            <a:avLst/>
          </a:prstGeom>
        </p:spPr>
        <p:txBody>
          <a:bodyPr vert="horz" wrap="square" lIns="0" tIns="18288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22" name="TextBox 2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04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8286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0700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9080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617A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5134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2A35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4566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42536C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5340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7410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10933200" cy="509541"/>
          </a:xfrm>
        </p:spPr>
        <p:txBody>
          <a:bodyPr vert="horz"/>
          <a:lstStyle>
            <a:lvl1pPr>
              <a:defRPr sz="32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4513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7065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1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2400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131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0230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Logo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040D7D90-59F5-3843-B306-2F0EE34820BB}"/>
              </a:ext>
            </a:extLst>
          </p:cNvPr>
          <p:cNvGrpSpPr/>
          <p:nvPr userDrawn="1"/>
        </p:nvGrpSpPr>
        <p:grpSpPr>
          <a:xfrm>
            <a:off x="-12671" y="1"/>
            <a:ext cx="12215224" cy="172327"/>
            <a:chOff x="-9503" y="0"/>
            <a:chExt cx="9161418" cy="129245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F7E13BB5-FF4C-6442-BCF2-5739F953B6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9503" y="776"/>
              <a:ext cx="4580709" cy="128469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F9F650C2-7406-094B-B577-3D72613AD23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V="1">
              <a:off x="4571206" y="0"/>
              <a:ext cx="4580709" cy="129245"/>
            </a:xfrm>
            <a:prstGeom prst="rect">
              <a:avLst/>
            </a:prstGeom>
          </p:spPr>
        </p:pic>
      </p:grp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CB978F2-E9DC-43A6-A84F-48F54FD554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1867" y="889000"/>
            <a:ext cx="11106151" cy="5283200"/>
          </a:xfrm>
          <a:prstGeom prst="rect">
            <a:avLst/>
          </a:prstGeom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04D30FC-A071-49A3-9913-E7A7377092B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732357EA-89F0-4A5C-864B-33A628789DB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49CFD2F-36B8-0841-B2EB-F5F312EEE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070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073253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556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4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268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7424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object 3"/>
          <p:cNvGrpSpPr/>
          <p:nvPr userDrawn="1"/>
        </p:nvGrpSpPr>
        <p:grpSpPr>
          <a:xfrm>
            <a:off x="6096" y="4063"/>
            <a:ext cx="12180147" cy="1524000"/>
            <a:chOff x="4572" y="3047"/>
            <a:chExt cx="9135110" cy="1143000"/>
          </a:xfrm>
        </p:grpSpPr>
        <p:sp>
          <p:nvSpPr>
            <p:cNvPr id="11" name="object 4"/>
            <p:cNvSpPr/>
            <p:nvPr/>
          </p:nvSpPr>
          <p:spPr>
            <a:xfrm>
              <a:off x="4543043" y="3047"/>
              <a:ext cx="4596765" cy="1143000"/>
            </a:xfrm>
            <a:custGeom>
              <a:avLst/>
              <a:gdLst/>
              <a:ahLst/>
              <a:cxnLst/>
              <a:rect l="l" t="t" r="r" b="b"/>
              <a:pathLst>
                <a:path w="4596765" h="1143000">
                  <a:moveTo>
                    <a:pt x="4596384" y="0"/>
                  </a:moveTo>
                  <a:lnTo>
                    <a:pt x="0" y="0"/>
                  </a:lnTo>
                  <a:lnTo>
                    <a:pt x="0" y="1143000"/>
                  </a:lnTo>
                  <a:lnTo>
                    <a:pt x="4596384" y="1143000"/>
                  </a:lnTo>
                  <a:lnTo>
                    <a:pt x="4596384" y="0"/>
                  </a:lnTo>
                  <a:close/>
                </a:path>
              </a:pathLst>
            </a:custGeom>
            <a:solidFill>
              <a:srgbClr val="42536C"/>
            </a:solidFill>
          </p:spPr>
          <p:txBody>
            <a:bodyPr wrap="square" lIns="0" tIns="0" rIns="0" bIns="0" rtlCol="0"/>
            <a:lstStyle/>
            <a:p>
              <a:endParaRPr sz="320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pic>
          <p:nvPicPr>
            <p:cNvPr id="12" name="object 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572" y="3048"/>
              <a:ext cx="4540676" cy="1142744"/>
            </a:xfrm>
            <a:prstGeom prst="rect">
              <a:avLst/>
            </a:prstGeom>
          </p:spPr>
        </p:pic>
        <p:pic>
          <p:nvPicPr>
            <p:cNvPr id="13" name="object 6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643883" y="272796"/>
              <a:ext cx="1790699" cy="589787"/>
            </a:xfrm>
            <a:prstGeom prst="rect">
              <a:avLst/>
            </a:prstGeom>
          </p:spPr>
        </p:pic>
      </p:grpSp>
      <p:sp>
        <p:nvSpPr>
          <p:cNvPr id="14" name="bg object 18"/>
          <p:cNvSpPr/>
          <p:nvPr userDrawn="1"/>
        </p:nvSpPr>
        <p:spPr>
          <a:xfrm>
            <a:off x="6096" y="6289056"/>
            <a:ext cx="12180147" cy="565573"/>
          </a:xfrm>
          <a:custGeom>
            <a:avLst/>
            <a:gdLst/>
            <a:ahLst/>
            <a:cxnLst/>
            <a:rect l="l" t="t" r="r" b="b"/>
            <a:pathLst>
              <a:path w="9135110" h="424179">
                <a:moveTo>
                  <a:pt x="9134856" y="0"/>
                </a:moveTo>
                <a:lnTo>
                  <a:pt x="0" y="0"/>
                </a:lnTo>
                <a:lnTo>
                  <a:pt x="0" y="423659"/>
                </a:lnTo>
                <a:lnTo>
                  <a:pt x="9134856" y="423659"/>
                </a:lnTo>
                <a:lnTo>
                  <a:pt x="9134856" y="0"/>
                </a:lnTo>
                <a:close/>
              </a:path>
            </a:pathLst>
          </a:custGeom>
          <a:solidFill>
            <a:srgbClr val="42536C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336963" y="2875002"/>
            <a:ext cx="9518073" cy="110799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6600" b="1" dirty="0">
                <a:solidFill>
                  <a:srgbClr val="40404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hank</a:t>
            </a:r>
            <a:r>
              <a:rPr lang="en-US" sz="6600" b="1" baseline="0" dirty="0">
                <a:solidFill>
                  <a:srgbClr val="40404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you</a:t>
            </a:r>
            <a:endParaRPr lang="en-US" sz="6600" b="1" dirty="0">
              <a:solidFill>
                <a:srgbClr val="40404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7231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6569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4" name="TextBox 93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5704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0816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36963" y="3564819"/>
            <a:ext cx="9518073" cy="73866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800" b="1" baseline="0">
                <a:solidFill>
                  <a:srgbClr val="40404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Same. Capitalize Each Word</a:t>
            </a:r>
          </a:p>
        </p:txBody>
      </p:sp>
      <p:grpSp>
        <p:nvGrpSpPr>
          <p:cNvPr id="17" name="object 3"/>
          <p:cNvGrpSpPr/>
          <p:nvPr userDrawn="1"/>
        </p:nvGrpSpPr>
        <p:grpSpPr>
          <a:xfrm>
            <a:off x="6096" y="4063"/>
            <a:ext cx="12180147" cy="1524000"/>
            <a:chOff x="4572" y="3047"/>
            <a:chExt cx="9135110" cy="1143000"/>
          </a:xfrm>
        </p:grpSpPr>
        <p:sp>
          <p:nvSpPr>
            <p:cNvPr id="19" name="object 4"/>
            <p:cNvSpPr/>
            <p:nvPr/>
          </p:nvSpPr>
          <p:spPr>
            <a:xfrm>
              <a:off x="4543043" y="3047"/>
              <a:ext cx="4596765" cy="1143000"/>
            </a:xfrm>
            <a:custGeom>
              <a:avLst/>
              <a:gdLst/>
              <a:ahLst/>
              <a:cxnLst/>
              <a:rect l="l" t="t" r="r" b="b"/>
              <a:pathLst>
                <a:path w="4596765" h="1143000">
                  <a:moveTo>
                    <a:pt x="4596384" y="0"/>
                  </a:moveTo>
                  <a:lnTo>
                    <a:pt x="0" y="0"/>
                  </a:lnTo>
                  <a:lnTo>
                    <a:pt x="0" y="1143000"/>
                  </a:lnTo>
                  <a:lnTo>
                    <a:pt x="4596384" y="1143000"/>
                  </a:lnTo>
                  <a:lnTo>
                    <a:pt x="4596384" y="0"/>
                  </a:lnTo>
                  <a:close/>
                </a:path>
              </a:pathLst>
            </a:custGeom>
            <a:solidFill>
              <a:srgbClr val="42536C"/>
            </a:solidFill>
          </p:spPr>
          <p:txBody>
            <a:bodyPr wrap="square" lIns="0" tIns="0" rIns="0" bIns="0" rtlCol="0"/>
            <a:lstStyle/>
            <a:p>
              <a:endParaRPr sz="320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pic>
          <p:nvPicPr>
            <p:cNvPr id="23" name="object 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572" y="3048"/>
              <a:ext cx="4540676" cy="1142744"/>
            </a:xfrm>
            <a:prstGeom prst="rect">
              <a:avLst/>
            </a:prstGeom>
          </p:spPr>
        </p:pic>
        <p:pic>
          <p:nvPicPr>
            <p:cNvPr id="24" name="object 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643883" y="272796"/>
              <a:ext cx="1790699" cy="589787"/>
            </a:xfrm>
            <a:prstGeom prst="rect">
              <a:avLst/>
            </a:prstGeom>
          </p:spPr>
        </p:pic>
      </p:grpSp>
      <p:sp>
        <p:nvSpPr>
          <p:cNvPr id="25" name="bg object 18"/>
          <p:cNvSpPr/>
          <p:nvPr userDrawn="1"/>
        </p:nvSpPr>
        <p:spPr>
          <a:xfrm>
            <a:off x="6096" y="6289056"/>
            <a:ext cx="12180147" cy="565573"/>
          </a:xfrm>
          <a:custGeom>
            <a:avLst/>
            <a:gdLst/>
            <a:ahLst/>
            <a:cxnLst/>
            <a:rect l="l" t="t" r="r" b="b"/>
            <a:pathLst>
              <a:path w="9135110" h="424179">
                <a:moveTo>
                  <a:pt x="9134856" y="0"/>
                </a:moveTo>
                <a:lnTo>
                  <a:pt x="0" y="0"/>
                </a:lnTo>
                <a:lnTo>
                  <a:pt x="0" y="423659"/>
                </a:lnTo>
                <a:lnTo>
                  <a:pt x="9134856" y="423659"/>
                </a:lnTo>
                <a:lnTo>
                  <a:pt x="9134856" y="0"/>
                </a:lnTo>
                <a:close/>
              </a:path>
            </a:pathLst>
          </a:custGeom>
          <a:solidFill>
            <a:srgbClr val="42536C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336963" y="2681787"/>
            <a:ext cx="9518073" cy="757130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 algn="ctr">
              <a:lnSpc>
                <a:spcPct val="100000"/>
              </a:lnSpc>
              <a:spcBef>
                <a:spcPts val="600"/>
              </a:spcBef>
              <a:defRPr sz="4800" b="1" baseline="0">
                <a:solidFill>
                  <a:srgbClr val="E80032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Title in Georgia Font 48</a:t>
            </a:r>
          </a:p>
        </p:txBody>
      </p:sp>
    </p:spTree>
    <p:extLst>
      <p:ext uri="{BB962C8B-B14F-4D97-AF65-F5344CB8AC3E}">
        <p14:creationId xmlns:p14="http://schemas.microsoft.com/office/powerpoint/2010/main" val="3662735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422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5" name="Object 3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10933350" cy="509541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7" name="bg object 19"/>
          <p:cNvSpPr/>
          <p:nvPr userDrawn="1"/>
        </p:nvSpPr>
        <p:spPr>
          <a:xfrm>
            <a:off x="628650" y="701040"/>
            <a:ext cx="10953752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8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39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40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425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7814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bg object 19"/>
          <p:cNvSpPr/>
          <p:nvPr userDrawn="1"/>
        </p:nvSpPr>
        <p:spPr>
          <a:xfrm>
            <a:off x="628650" y="701040"/>
            <a:ext cx="10953752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9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0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3743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5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6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1517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0673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617A9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104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5388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617A9F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8671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8230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3151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D185F9-ACC4-4ECC-B130-7B16B3C4764B}"/>
              </a:ext>
            </a:extLst>
          </p:cNvPr>
          <p:cNvSpPr/>
          <p:nvPr/>
        </p:nvSpPr>
        <p:spPr>
          <a:xfrm>
            <a:off x="0" y="6577582"/>
            <a:ext cx="12192000" cy="280417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BC4B5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4FF8E35B-3231-4F45-B01A-CF32805B9875}"/>
              </a:ext>
            </a:extLst>
          </p:cNvPr>
          <p:cNvSpPr>
            <a:spLocks noChangeAspect="1"/>
          </p:cNvSpPr>
          <p:nvPr/>
        </p:nvSpPr>
        <p:spPr>
          <a:xfrm>
            <a:off x="5343638" y="6296295"/>
            <a:ext cx="1518657" cy="548640"/>
          </a:xfrm>
          <a:prstGeom prst="diamond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A192EC-7358-4417-B8B5-A2EE672387C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9214" y="6384032"/>
            <a:ext cx="1059503" cy="36557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48EA302-157D-434D-B880-B29B5CC66066}"/>
              </a:ext>
            </a:extLst>
          </p:cNvPr>
          <p:cNvSpPr/>
          <p:nvPr/>
        </p:nvSpPr>
        <p:spPr bwMode="white">
          <a:xfrm>
            <a:off x="0" y="6385322"/>
            <a:ext cx="12192000" cy="472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C01AE467-E9ED-409C-AA8B-1C2E9BCFA1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29D5CE03-678D-4288-B7FF-4A2A3F6EF5A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87075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August 2019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9EF58070-D9CB-4DB3-9CA8-428FF4C6A5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844E1C-37CC-4BB0-85F6-6A8BDCFD6488}"/>
              </a:ext>
            </a:extLst>
          </p:cNvPr>
          <p:cNvSpPr/>
          <p:nvPr userDrawn="1"/>
        </p:nvSpPr>
        <p:spPr>
          <a:xfrm>
            <a:off x="0" y="6577582"/>
            <a:ext cx="12192000" cy="280417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BC4B5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E31D21-1F74-4859-91AB-060F38F56A41}"/>
              </a:ext>
            </a:extLst>
          </p:cNvPr>
          <p:cNvSpPr/>
          <p:nvPr userDrawn="1"/>
        </p:nvSpPr>
        <p:spPr bwMode="white">
          <a:xfrm>
            <a:off x="0" y="6385322"/>
            <a:ext cx="12192000" cy="472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744121D-6A0A-AC45-86FA-786BC76056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81" y="1453"/>
            <a:ext cx="12189419" cy="6856548"/>
          </a:xfrm>
          <a:prstGeom prst="rect">
            <a:avLst/>
          </a:prstGeom>
        </p:spPr>
      </p:pic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CB978F2-E9DC-43A6-A84F-48F54FD554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1867" y="2277184"/>
            <a:ext cx="11106151" cy="3895016"/>
          </a:xfrm>
          <a:prstGeom prst="rect">
            <a:avLst/>
          </a:prstGeom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49CFD2F-36B8-0841-B2EB-F5F312EEE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9538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4800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Divider Slide Title</a:t>
            </a:r>
          </a:p>
        </p:txBody>
      </p:sp>
      <p:sp>
        <p:nvSpPr>
          <p:cNvPr id="19" name="Slide Number Placeholder 3">
            <a:extLst>
              <a:ext uri="{FF2B5EF4-FFF2-40B4-BE49-F238E27FC236}">
                <a16:creationId xmlns:a16="http://schemas.microsoft.com/office/drawing/2014/main" id="{E4953707-39C9-40EE-A018-D13137D15C86}"/>
              </a:ext>
            </a:extLst>
          </p:cNvPr>
          <p:cNvSpPr txBox="1">
            <a:spLocks/>
          </p:cNvSpPr>
          <p:nvPr userDrawn="1"/>
        </p:nvSpPr>
        <p:spPr>
          <a:xfrm>
            <a:off x="11015266" y="6498440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000" b="1" kern="120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D1532F-61F1-B941-ACDF-6BC65E0B4055}" type="slidenum">
              <a:rPr lang="en-US" sz="1333" smtClean="0"/>
              <a:pPr/>
              <a:t>‹#›</a:t>
            </a:fld>
            <a:endParaRPr lang="en-US" sz="1333" dirty="0"/>
          </a:p>
        </p:txBody>
      </p:sp>
    </p:spTree>
    <p:extLst>
      <p:ext uri="{BB962C8B-B14F-4D97-AF65-F5344CB8AC3E}">
        <p14:creationId xmlns:p14="http://schemas.microsoft.com/office/powerpoint/2010/main" val="2545487479"/>
      </p:ext>
    </p:extLst>
  </p:cSld>
  <p:clrMapOvr>
    <a:masterClrMapping/>
  </p:clrMapOvr>
  <p:hf hdr="0"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475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6276529" cy="509541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9563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2383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8101584" cy="509541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0636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6343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463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4779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91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7388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6420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01780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48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839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3884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2574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0168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5810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08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8546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4747822" cy="509541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11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D185F9-ACC4-4ECC-B130-7B16B3C4764B}"/>
              </a:ext>
            </a:extLst>
          </p:cNvPr>
          <p:cNvSpPr/>
          <p:nvPr/>
        </p:nvSpPr>
        <p:spPr>
          <a:xfrm>
            <a:off x="0" y="6577582"/>
            <a:ext cx="12192000" cy="280417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BC4B5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4FF8E35B-3231-4F45-B01A-CF32805B9875}"/>
              </a:ext>
            </a:extLst>
          </p:cNvPr>
          <p:cNvSpPr>
            <a:spLocks noChangeAspect="1"/>
          </p:cNvSpPr>
          <p:nvPr/>
        </p:nvSpPr>
        <p:spPr>
          <a:xfrm>
            <a:off x="5343638" y="6296295"/>
            <a:ext cx="1518657" cy="548640"/>
          </a:xfrm>
          <a:prstGeom prst="diamond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A192EC-7358-4417-B8B5-A2EE672387C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9214" y="6384032"/>
            <a:ext cx="1059503" cy="36557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48EA302-157D-434D-B880-B29B5CC66066}"/>
              </a:ext>
            </a:extLst>
          </p:cNvPr>
          <p:cNvSpPr/>
          <p:nvPr/>
        </p:nvSpPr>
        <p:spPr bwMode="white">
          <a:xfrm>
            <a:off x="0" y="6385322"/>
            <a:ext cx="12192000" cy="472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C01AE467-E9ED-409C-AA8B-1C2E9BCFA1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29D5CE03-678D-4288-B7FF-4A2A3F6EF5A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87075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August 2019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9EF58070-D9CB-4DB3-9CA8-428FF4C6A5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844E1C-37CC-4BB0-85F6-6A8BDCFD6488}"/>
              </a:ext>
            </a:extLst>
          </p:cNvPr>
          <p:cNvSpPr/>
          <p:nvPr userDrawn="1"/>
        </p:nvSpPr>
        <p:spPr>
          <a:xfrm>
            <a:off x="0" y="6577582"/>
            <a:ext cx="12192000" cy="280417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BC4B5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E31D21-1F74-4859-91AB-060F38F56A41}"/>
              </a:ext>
            </a:extLst>
          </p:cNvPr>
          <p:cNvSpPr/>
          <p:nvPr userDrawn="1"/>
        </p:nvSpPr>
        <p:spPr bwMode="white">
          <a:xfrm>
            <a:off x="0" y="6385322"/>
            <a:ext cx="12192000" cy="472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CB978F2-E9DC-43A6-A84F-48F54FD554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1867" y="2277184"/>
            <a:ext cx="11106151" cy="3895016"/>
          </a:xfrm>
          <a:prstGeom prst="rect">
            <a:avLst/>
          </a:prstGeom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49CFD2F-36B8-0841-B2EB-F5F312EEE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9538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4800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Divider Slide Tit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688BE2C-4817-8D48-9AE9-1AFB97EBD5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81000"/>
          </a:xfrm>
          <a:prstGeom prst="rect">
            <a:avLst/>
          </a:prstGeom>
        </p:spPr>
      </p:pic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E4953707-39C9-40EE-A018-D13137D15C86}"/>
              </a:ext>
            </a:extLst>
          </p:cNvPr>
          <p:cNvSpPr txBox="1">
            <a:spLocks/>
          </p:cNvSpPr>
          <p:nvPr userDrawn="1"/>
        </p:nvSpPr>
        <p:spPr>
          <a:xfrm>
            <a:off x="11015266" y="6498440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000" b="1" kern="120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D1532F-61F1-B941-ACDF-6BC65E0B4055}" type="slidenum">
              <a:rPr lang="en-US" sz="1333" smtClean="0"/>
              <a:pPr/>
              <a:t>‹#›</a:t>
            </a:fld>
            <a:endParaRPr lang="en-US" sz="1333" dirty="0"/>
          </a:p>
        </p:txBody>
      </p:sp>
    </p:spTree>
    <p:extLst>
      <p:ext uri="{BB962C8B-B14F-4D97-AF65-F5344CB8AC3E}">
        <p14:creationId xmlns:p14="http://schemas.microsoft.com/office/powerpoint/2010/main" val="1567994251"/>
      </p:ext>
    </p:extLst>
  </p:cSld>
  <p:clrMapOvr>
    <a:masterClrMapping/>
  </p:clrMapOvr>
  <p:hf hdr="0"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8040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4747822" cy="509541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3970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639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6254496" cy="509541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621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544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6254496" cy="509541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65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4716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7939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448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617A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8999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2A35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0253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42536C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9000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443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10933200" cy="509541"/>
          </a:xfrm>
        </p:spPr>
        <p:txBody>
          <a:bodyPr vert="horz"/>
          <a:lstStyle>
            <a:lvl1pPr>
              <a:defRPr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2576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7522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31038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 cap="small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6920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545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0328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753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1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2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241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ide by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556CF733-3857-6B4C-B1B6-7EF7CC8EB1A2}"/>
              </a:ext>
            </a:extLst>
          </p:cNvPr>
          <p:cNvGrpSpPr/>
          <p:nvPr userDrawn="1"/>
        </p:nvGrpSpPr>
        <p:grpSpPr>
          <a:xfrm>
            <a:off x="-12671" y="1"/>
            <a:ext cx="12215224" cy="172327"/>
            <a:chOff x="-9503" y="0"/>
            <a:chExt cx="9161418" cy="129245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BE5EE069-9A7E-994E-B295-429161E7ED7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9503" y="776"/>
              <a:ext cx="4580709" cy="128469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477AD01D-397C-C747-9FE3-AC50449EDAD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V="1">
              <a:off x="4571206" y="0"/>
              <a:ext cx="4580709" cy="129245"/>
            </a:xfrm>
            <a:prstGeom prst="rect">
              <a:avLst/>
            </a:prstGeom>
          </p:spPr>
        </p:pic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F73913F-0226-4B28-AAC5-39D4FDF4480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46800" y="889000"/>
            <a:ext cx="5503333" cy="52832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953707-39C9-40EE-A018-D13137D15C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A8C48EA5-261B-4319-8D3B-711EC700B99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93171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August 2019</a:t>
            </a: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333F7A7F-89F3-44DA-A835-BAF97F5281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BD0160-6C0A-1A4C-B300-2327013A55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070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1EF9AC-ECED-4C4A-898A-146E82A80EE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39749" y="889000"/>
            <a:ext cx="5503335" cy="5283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0696519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9466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5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6980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37717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object 3"/>
          <p:cNvGrpSpPr/>
          <p:nvPr userDrawn="1"/>
        </p:nvGrpSpPr>
        <p:grpSpPr>
          <a:xfrm>
            <a:off x="6096" y="4063"/>
            <a:ext cx="12180147" cy="1524000"/>
            <a:chOff x="4572" y="3047"/>
            <a:chExt cx="9135110" cy="1143000"/>
          </a:xfrm>
        </p:grpSpPr>
        <p:sp>
          <p:nvSpPr>
            <p:cNvPr id="11" name="object 4"/>
            <p:cNvSpPr/>
            <p:nvPr/>
          </p:nvSpPr>
          <p:spPr>
            <a:xfrm>
              <a:off x="4543043" y="3047"/>
              <a:ext cx="4596765" cy="1143000"/>
            </a:xfrm>
            <a:custGeom>
              <a:avLst/>
              <a:gdLst/>
              <a:ahLst/>
              <a:cxnLst/>
              <a:rect l="l" t="t" r="r" b="b"/>
              <a:pathLst>
                <a:path w="4596765" h="1143000">
                  <a:moveTo>
                    <a:pt x="4596384" y="0"/>
                  </a:moveTo>
                  <a:lnTo>
                    <a:pt x="0" y="0"/>
                  </a:lnTo>
                  <a:lnTo>
                    <a:pt x="0" y="1143000"/>
                  </a:lnTo>
                  <a:lnTo>
                    <a:pt x="4596384" y="1143000"/>
                  </a:lnTo>
                  <a:lnTo>
                    <a:pt x="4596384" y="0"/>
                  </a:lnTo>
                  <a:close/>
                </a:path>
              </a:pathLst>
            </a:custGeom>
            <a:solidFill>
              <a:srgbClr val="42536C"/>
            </a:solidFill>
          </p:spPr>
          <p:txBody>
            <a:bodyPr wrap="square" lIns="0" tIns="0" rIns="0" bIns="0" rtlCol="0"/>
            <a:lstStyle/>
            <a:p>
              <a:endParaRPr sz="320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pic>
          <p:nvPicPr>
            <p:cNvPr id="12" name="object 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572" y="3048"/>
              <a:ext cx="4540676" cy="1142744"/>
            </a:xfrm>
            <a:prstGeom prst="rect">
              <a:avLst/>
            </a:prstGeom>
          </p:spPr>
        </p:pic>
        <p:pic>
          <p:nvPicPr>
            <p:cNvPr id="13" name="object 6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643883" y="272796"/>
              <a:ext cx="1790699" cy="589787"/>
            </a:xfrm>
            <a:prstGeom prst="rect">
              <a:avLst/>
            </a:prstGeom>
          </p:spPr>
        </p:pic>
      </p:grpSp>
      <p:sp>
        <p:nvSpPr>
          <p:cNvPr id="14" name="bg object 18"/>
          <p:cNvSpPr/>
          <p:nvPr userDrawn="1"/>
        </p:nvSpPr>
        <p:spPr>
          <a:xfrm>
            <a:off x="6096" y="6289056"/>
            <a:ext cx="12180147" cy="565573"/>
          </a:xfrm>
          <a:custGeom>
            <a:avLst/>
            <a:gdLst/>
            <a:ahLst/>
            <a:cxnLst/>
            <a:rect l="l" t="t" r="r" b="b"/>
            <a:pathLst>
              <a:path w="9135110" h="424179">
                <a:moveTo>
                  <a:pt x="9134856" y="0"/>
                </a:moveTo>
                <a:lnTo>
                  <a:pt x="0" y="0"/>
                </a:lnTo>
                <a:lnTo>
                  <a:pt x="0" y="423659"/>
                </a:lnTo>
                <a:lnTo>
                  <a:pt x="9134856" y="423659"/>
                </a:lnTo>
                <a:lnTo>
                  <a:pt x="9134856" y="0"/>
                </a:lnTo>
                <a:close/>
              </a:path>
            </a:pathLst>
          </a:custGeom>
          <a:solidFill>
            <a:srgbClr val="42536C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336963" y="2875002"/>
            <a:ext cx="9518073" cy="110799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6600" b="1" dirty="0">
                <a:solidFill>
                  <a:srgbClr val="40404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hank</a:t>
            </a:r>
            <a:r>
              <a:rPr lang="en-US" sz="6600" b="1" baseline="0" dirty="0">
                <a:solidFill>
                  <a:srgbClr val="40404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you</a:t>
            </a:r>
            <a:endParaRPr lang="en-US" sz="6600" b="1" dirty="0">
              <a:solidFill>
                <a:srgbClr val="40404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1255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945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2" name="TextBox 5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91333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9759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51965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225687" y="1115416"/>
            <a:ext cx="225670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1" cap="small" baseline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944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6625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4664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1651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00" b="1" cap="small" baseline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3659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37730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 cap="small" baseline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sp>
        <p:nvSpPr>
          <p:cNvPr id="9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6498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0625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617A9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617A9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519658"/>
          </a:xfrm>
          <a:prstGeom prst="rect">
            <a:avLst/>
          </a:prstGeom>
          <a:noFill/>
          <a:ln>
            <a:solidFill>
              <a:srgbClr val="617A9F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225686" y="1115416"/>
            <a:ext cx="225670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b="1" cap="small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sp>
        <p:nvSpPr>
          <p:cNvPr id="12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8507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09417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617A9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617A9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732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568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 cap="small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617A9F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0528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ide by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22E1D1F4-B582-2B47-93B9-57694A4F14B5}"/>
              </a:ext>
            </a:extLst>
          </p:cNvPr>
          <p:cNvGrpSpPr/>
          <p:nvPr userDrawn="1"/>
        </p:nvGrpSpPr>
        <p:grpSpPr>
          <a:xfrm>
            <a:off x="-12671" y="1"/>
            <a:ext cx="12215224" cy="172327"/>
            <a:chOff x="-9503" y="0"/>
            <a:chExt cx="9161418" cy="129245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6678AC2-8ED4-F04B-932B-63993B88126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9503" y="776"/>
              <a:ext cx="4580709" cy="128469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1D1A2851-9687-924D-A970-393C7D8E1BB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V="1">
              <a:off x="4571206" y="0"/>
              <a:ext cx="4580709" cy="129245"/>
            </a:xfrm>
            <a:prstGeom prst="rect">
              <a:avLst/>
            </a:prstGeom>
          </p:spPr>
        </p:pic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A8FCFEE-3CB5-4A66-B883-B4C704B541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1866" y="889000"/>
            <a:ext cx="5503335" cy="52832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F73913F-0226-4B28-AAC5-39D4FDF4480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46800" y="889000"/>
            <a:ext cx="5503333" cy="52832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953707-39C9-40EE-A018-D13137D15C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A8C48EA5-261B-4319-8D3B-711EC700B99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93171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August 2019</a:t>
            </a: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333F7A7F-89F3-44DA-A835-BAF97F5281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0C66949-652E-144D-80D0-2F0941131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070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749772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8220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b="1" cap="small" baseline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2526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83930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75844"/>
            <a:ext cx="3141900" cy="15659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800" b="1" cap="small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2787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Logo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87C33A6-FF4C-AB42-9E2A-013F4F02C8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10968"/>
            <a:ext cx="12192000" cy="541867"/>
          </a:xfrm>
          <a:prstGeom prst="rect">
            <a:avLst/>
          </a:prstGeom>
        </p:spPr>
      </p:pic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CB978F2-E9DC-43A6-A84F-48F54FD554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1867" y="889000"/>
            <a:ext cx="11106151" cy="5283200"/>
          </a:xfrm>
          <a:prstGeom prst="rect">
            <a:avLst/>
          </a:prstGeom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133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1867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1733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4B87FB-ADA9-46D4-8FB7-72CF7CAC9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297" y="123735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2667" cap="small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81DE34CD-E61D-4FA8-ACC1-67A1F24A3A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200" b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D2B22BB1-91BE-41E5-AFBB-E2ECEFA427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ow Restricted</a:t>
            </a:r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C6C6C2DB-CFEA-471E-8F61-D8C09093D1B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87075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 userDrawn="1"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717805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12B3D50-D18C-8B40-A401-F07FE82810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10968"/>
            <a:ext cx="12192000" cy="5418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04B87FB-ADA9-46D4-8FB7-72CF7CAC9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297" y="123735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2667" cap="small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81DE34CD-E61D-4FA8-ACC1-67A1F24A3A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200" b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2B22BB1-91BE-41E5-AFBB-E2ECEFA427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ow Restricted</a:t>
            </a:r>
          </a:p>
        </p:txBody>
      </p:sp>
      <p:sp>
        <p:nvSpPr>
          <p:cNvPr id="22" name="Date Placeholder 4">
            <a:extLst>
              <a:ext uri="{FF2B5EF4-FFF2-40B4-BE49-F238E27FC236}">
                <a16:creationId xmlns:a16="http://schemas.microsoft.com/office/drawing/2014/main" id="{C6C6C2DB-CFEA-471E-8F61-D8C09093D1B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87075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56137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Side by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>
            <a:extLst>
              <a:ext uri="{FF2B5EF4-FFF2-40B4-BE49-F238E27FC236}">
                <a16:creationId xmlns:a16="http://schemas.microsoft.com/office/drawing/2014/main" id="{87468C5E-6740-5C4C-A336-CE0FAB671510}"/>
              </a:ext>
            </a:extLst>
          </p:cNvPr>
          <p:cNvGrpSpPr/>
          <p:nvPr userDrawn="1"/>
        </p:nvGrpSpPr>
        <p:grpSpPr>
          <a:xfrm>
            <a:off x="-12671" y="1"/>
            <a:ext cx="12215224" cy="172327"/>
            <a:chOff x="-9503" y="0"/>
            <a:chExt cx="9161418" cy="129245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0012E976-FF85-014D-ABD2-6DF594F704E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9503" y="776"/>
              <a:ext cx="4580709" cy="128469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526BBED9-005B-B04D-9FCF-847D21FAAA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V="1">
              <a:off x="4571206" y="0"/>
              <a:ext cx="4580709" cy="129245"/>
            </a:xfrm>
            <a:prstGeom prst="rect">
              <a:avLst/>
            </a:prstGeom>
          </p:spPr>
        </p:pic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953707-39C9-40EE-A018-D13137D15C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A8C48EA5-261B-4319-8D3B-711EC700B99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93171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August 2019</a:t>
            </a: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333F7A7F-89F3-44DA-A835-BAF97F5281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0C66949-652E-144D-80D0-2F0941131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070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E98C57C-3C33-CE4E-8479-EDA205AE0DE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0277" y="2678725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4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1482D7EA-AE1C-504E-BE5C-1CA3C70D03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85603" y="2678725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4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74B8C9E4-FF4F-7B42-873D-83D53A41EC6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05763" y="2678725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4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3ED32447-934C-A747-AD12-8AE8BBE149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277" y="1833126"/>
            <a:ext cx="3552119" cy="70977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lIns="91440" tIns="91440" rIns="91440" bIns="91440" anchor="ctr">
            <a:normAutofit/>
          </a:bodyPr>
          <a:lstStyle>
            <a:lvl1pPr marL="0" indent="0" algn="ctr">
              <a:buFontTx/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E3BC61D-758B-3645-8A0B-5D39DA32EA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08825" y="1833126"/>
            <a:ext cx="3552119" cy="70977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lIns="91440" tIns="91440" rIns="91440" bIns="91440" anchor="ctr">
            <a:normAutofit/>
          </a:bodyPr>
          <a:lstStyle>
            <a:lvl1pPr marL="0" indent="0" algn="ctr">
              <a:buFontTx/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9AF090C5-E655-504A-828A-FB57F8D13E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94151" y="1833126"/>
            <a:ext cx="3552119" cy="70977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lIns="91440" tIns="91440" rIns="91440" bIns="91440" anchor="ctr">
            <a:normAutofit/>
          </a:bodyPr>
          <a:lstStyle>
            <a:lvl1pPr marL="0" indent="0" algn="ctr">
              <a:buFontTx/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AA9A1A8-B4A9-6B4B-A9C9-1879697036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00277" y="4733948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4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A65E8124-A041-A74D-AD15-DF172FD40FE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285603" y="4733948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4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9A554E90-1650-294B-9B8F-6657804344E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05763" y="4733948"/>
            <a:ext cx="3540503" cy="10369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400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2959A062-153A-3C43-8B51-D6D990BFD34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00277" y="3888349"/>
            <a:ext cx="3552119" cy="70977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lIns="91440" tIns="91440" rIns="91440" bIns="91440" anchor="ctr">
            <a:normAutofit/>
          </a:bodyPr>
          <a:lstStyle>
            <a:lvl1pPr marL="0" indent="0" algn="ctr">
              <a:buFontTx/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294AE25-C03F-1E49-BDC4-44AA5E95D5B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08825" y="3888349"/>
            <a:ext cx="3552119" cy="70977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lIns="91440" tIns="91440" rIns="91440" bIns="91440" anchor="ctr">
            <a:normAutofit/>
          </a:bodyPr>
          <a:lstStyle>
            <a:lvl1pPr marL="0" indent="0" algn="ctr">
              <a:buFontTx/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53C0568B-2A75-7540-AEA8-833070C6F5D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094151" y="3888349"/>
            <a:ext cx="3552119" cy="70977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lIns="91440" tIns="91440" rIns="91440" bIns="91440" anchor="ctr">
            <a:normAutofit/>
          </a:bodyPr>
          <a:lstStyle>
            <a:lvl1pPr marL="0" indent="0" algn="ctr">
              <a:buFontTx/>
              <a:buNone/>
              <a:defRPr sz="26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31299131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D4C9347-C5F0-4A4A-9474-1F90C06C56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C8F05081-874B-4885-9D0A-C1D29F88B46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87075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August 2019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F67A3BD9-A5F9-487B-B01A-CEE25536BE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30BA191-8397-4743-8C16-305A4896CDCA}"/>
              </a:ext>
            </a:extLst>
          </p:cNvPr>
          <p:cNvGrpSpPr/>
          <p:nvPr userDrawn="1"/>
        </p:nvGrpSpPr>
        <p:grpSpPr>
          <a:xfrm>
            <a:off x="-12671" y="1"/>
            <a:ext cx="12215224" cy="172327"/>
            <a:chOff x="-9503" y="0"/>
            <a:chExt cx="9161418" cy="129245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317A559-985B-134F-BDAA-EEFE4C68335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9503" y="776"/>
              <a:ext cx="4580709" cy="128469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DD27103-818E-E344-9BDE-847505E62C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V="1">
              <a:off x="4571206" y="0"/>
              <a:ext cx="4580709" cy="1292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0730046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449834D-5BF0-4383-A5C0-92EA2E18C4F2}"/>
              </a:ext>
            </a:extLst>
          </p:cNvPr>
          <p:cNvSpPr/>
          <p:nvPr/>
        </p:nvSpPr>
        <p:spPr bwMode="white">
          <a:xfrm>
            <a:off x="7050460" y="6484768"/>
            <a:ext cx="5142701" cy="3732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A514B0-8A6A-414F-85F9-83932B23D604}"/>
              </a:ext>
            </a:extLst>
          </p:cNvPr>
          <p:cNvSpPr/>
          <p:nvPr/>
        </p:nvSpPr>
        <p:spPr bwMode="white">
          <a:xfrm>
            <a:off x="1" y="6284106"/>
            <a:ext cx="12003895" cy="5738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702DBBA-618C-4D4A-ACD4-CA44E0EBB0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41293" y="1786537"/>
            <a:ext cx="5408840" cy="1470025"/>
          </a:xfrm>
          <a:prstGeom prst="rect">
            <a:avLst/>
          </a:prstGeom>
        </p:spPr>
        <p:txBody>
          <a:bodyPr anchor="ctr"/>
          <a:lstStyle>
            <a:lvl1pPr algn="l">
              <a:defRPr sz="4267" cap="small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52708418-7C95-49FF-B4E2-AE65988602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41293" y="3404156"/>
            <a:ext cx="5408840" cy="157886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3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641E31E-CC97-496E-93D2-9230148497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1292" y="6485903"/>
            <a:ext cx="5408841" cy="365760"/>
          </a:xfrm>
          <a:prstGeom prst="rect">
            <a:avLst/>
          </a:prstGeom>
        </p:spPr>
        <p:txBody>
          <a:bodyPr anchor="ctr"/>
          <a:lstStyle>
            <a:lvl1pPr algn="l">
              <a:defRPr sz="1333" b="1">
                <a:solidFill>
                  <a:srgbClr val="E80032"/>
                </a:solidFill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5B87260-881A-4E93-B30E-EC757B7637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357" y="5070741"/>
            <a:ext cx="5411777" cy="56806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C81A803-12BE-4844-B599-1657CF0B7E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9954" y="-26309"/>
            <a:ext cx="6175948" cy="6887965"/>
          </a:xfrm>
          <a:prstGeom prst="rect">
            <a:avLst/>
          </a:prstGeom>
        </p:spPr>
      </p:pic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067C5715-B659-3943-BFF4-A1A1BBF42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29417" y="291154"/>
            <a:ext cx="4787843" cy="3137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FontTx/>
              <a:buNone/>
              <a:defRPr sz="14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Business or Function Nam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AE2619B-B04B-C242-9776-8790628A07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4372" y="522863"/>
            <a:ext cx="2615965" cy="90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63695"/>
      </p:ext>
    </p:extLst>
  </p:cSld>
  <p:clrMapOvr>
    <a:masterClrMapping/>
  </p:clrMapOvr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D185F9-ACC4-4ECC-B130-7B16B3C4764B}"/>
              </a:ext>
            </a:extLst>
          </p:cNvPr>
          <p:cNvSpPr/>
          <p:nvPr/>
        </p:nvSpPr>
        <p:spPr>
          <a:xfrm>
            <a:off x="0" y="6577582"/>
            <a:ext cx="12192000" cy="280417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BC4B5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4FF8E35B-3231-4F45-B01A-CF32805B9875}"/>
              </a:ext>
            </a:extLst>
          </p:cNvPr>
          <p:cNvSpPr>
            <a:spLocks noChangeAspect="1"/>
          </p:cNvSpPr>
          <p:nvPr/>
        </p:nvSpPr>
        <p:spPr>
          <a:xfrm>
            <a:off x="5343638" y="6296295"/>
            <a:ext cx="1518657" cy="548640"/>
          </a:xfrm>
          <a:prstGeom prst="diamond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A192EC-7358-4417-B8B5-A2EE672387C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9214" y="6384032"/>
            <a:ext cx="1059503" cy="36557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48EA302-157D-434D-B880-B29B5CC66066}"/>
              </a:ext>
            </a:extLst>
          </p:cNvPr>
          <p:cNvSpPr/>
          <p:nvPr/>
        </p:nvSpPr>
        <p:spPr bwMode="white">
          <a:xfrm>
            <a:off x="0" y="6385322"/>
            <a:ext cx="12192000" cy="472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C01AE467-E9ED-409C-AA8B-1C2E9BCFA1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29D5CE03-678D-4288-B7FF-4A2A3F6EF5A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87075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August 2019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9EF58070-D9CB-4DB3-9CA8-428FF4C6A5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844E1C-37CC-4BB0-85F6-6A8BDCFD6488}"/>
              </a:ext>
            </a:extLst>
          </p:cNvPr>
          <p:cNvSpPr/>
          <p:nvPr userDrawn="1"/>
        </p:nvSpPr>
        <p:spPr>
          <a:xfrm>
            <a:off x="0" y="6577582"/>
            <a:ext cx="12192000" cy="280417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BC4B5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E31D21-1F74-4859-91AB-060F38F56A41}"/>
              </a:ext>
            </a:extLst>
          </p:cNvPr>
          <p:cNvSpPr/>
          <p:nvPr userDrawn="1"/>
        </p:nvSpPr>
        <p:spPr bwMode="white">
          <a:xfrm>
            <a:off x="0" y="6385322"/>
            <a:ext cx="12192000" cy="472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123637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D185F9-ACC4-4ECC-B130-7B16B3C4764B}"/>
              </a:ext>
            </a:extLst>
          </p:cNvPr>
          <p:cNvSpPr/>
          <p:nvPr/>
        </p:nvSpPr>
        <p:spPr>
          <a:xfrm>
            <a:off x="0" y="6577582"/>
            <a:ext cx="12192000" cy="280417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BC4B5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4FF8E35B-3231-4F45-B01A-CF32805B9875}"/>
              </a:ext>
            </a:extLst>
          </p:cNvPr>
          <p:cNvSpPr>
            <a:spLocks noChangeAspect="1"/>
          </p:cNvSpPr>
          <p:nvPr/>
        </p:nvSpPr>
        <p:spPr>
          <a:xfrm>
            <a:off x="5343638" y="6296295"/>
            <a:ext cx="1518657" cy="548640"/>
          </a:xfrm>
          <a:prstGeom prst="diamond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A192EC-7358-4417-B8B5-A2EE672387C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9214" y="6384032"/>
            <a:ext cx="1059503" cy="36557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48EA302-157D-434D-B880-B29B5CC66066}"/>
              </a:ext>
            </a:extLst>
          </p:cNvPr>
          <p:cNvSpPr/>
          <p:nvPr/>
        </p:nvSpPr>
        <p:spPr bwMode="white">
          <a:xfrm>
            <a:off x="0" y="6385322"/>
            <a:ext cx="12192000" cy="472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FA4DE47-3264-A348-B9BD-3E9F5A67FF0F}"/>
              </a:ext>
            </a:extLst>
          </p:cNvPr>
          <p:cNvSpPr txBox="1"/>
          <p:nvPr userDrawn="1"/>
        </p:nvSpPr>
        <p:spPr>
          <a:xfrm>
            <a:off x="2415178" y="3262812"/>
            <a:ext cx="7361647" cy="2194560"/>
          </a:xfrm>
          <a:prstGeom prst="rect">
            <a:avLst/>
          </a:prstGeom>
          <a:noFill/>
        </p:spPr>
        <p:txBody>
          <a:bodyPr wrap="square" lIns="60960" rIns="60960" rtlCol="0">
            <a:noAutofit/>
          </a:bodyPr>
          <a:lstStyle/>
          <a:p>
            <a:pPr algn="ctr"/>
            <a:r>
              <a:rPr lang="en-US" sz="8000" b="1" cap="small" baseline="0" dirty="0">
                <a:solidFill>
                  <a:schemeClr val="tx2"/>
                </a:solidFill>
                <a:latin typeface="+mj-lt"/>
              </a:rPr>
              <a:t>Thank You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6EADF4A-EB5E-5746-9755-4AF385BFE39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4198"/>
            <a:ext cx="12192000" cy="140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885824"/>
      </p:ext>
    </p:extLst>
  </p:cSld>
  <p:clrMapOvr>
    <a:masterClrMapping/>
  </p:clrMapOvr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826A1DA-A7AC-AE47-834B-9054A50A18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975" y="0"/>
            <a:ext cx="7418184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6D57D470-3A18-8649-9DE3-22A1138F668E}"/>
              </a:ext>
            </a:extLst>
          </p:cNvPr>
          <p:cNvGrpSpPr/>
          <p:nvPr userDrawn="1"/>
        </p:nvGrpSpPr>
        <p:grpSpPr>
          <a:xfrm>
            <a:off x="1228728" y="2513269"/>
            <a:ext cx="10963272" cy="2542936"/>
            <a:chOff x="921546" y="1884952"/>
            <a:chExt cx="8222454" cy="190720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CA09DB0-24DD-D34B-A2C6-74467EA9DCA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045267" y="1884952"/>
              <a:ext cx="4098733" cy="1907202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C50F360-6753-DB44-85C0-2988B82879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1546" y="1884952"/>
              <a:ext cx="2348800" cy="19072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00115926"/>
      </p:ext>
    </p:extLst>
  </p:cSld>
  <p:clrMapOvr>
    <a:masterClrMapping/>
  </p:clrMapOvr>
  <p:hf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-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81DE34CD-E61D-4FA8-ACC1-67A1F24A3A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9" y="6289880"/>
            <a:ext cx="624551" cy="56812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200" b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2B22BB1-91BE-41E5-AFBB-E2ECEFA427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40920" y="6289880"/>
            <a:ext cx="3470229" cy="568120"/>
          </a:xfrm>
          <a:prstGeom prst="rect">
            <a:avLst/>
          </a:prstGeom>
        </p:spPr>
        <p:txBody>
          <a:bodyPr lIns="45720" rIns="4572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ow Restricted</a:t>
            </a:r>
          </a:p>
        </p:txBody>
      </p:sp>
      <p:sp>
        <p:nvSpPr>
          <p:cNvPr id="22" name="Date Placeholder 4">
            <a:extLst>
              <a:ext uri="{FF2B5EF4-FFF2-40B4-BE49-F238E27FC236}">
                <a16:creationId xmlns:a16="http://schemas.microsoft.com/office/drawing/2014/main" id="{C6C6C2DB-CFEA-471E-8F61-D8C09093D1B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289880"/>
            <a:ext cx="3101421" cy="568120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itle 10">
            <a:extLst>
              <a:ext uri="{FF2B5EF4-FFF2-40B4-BE49-F238E27FC236}">
                <a16:creationId xmlns:a16="http://schemas.microsoft.com/office/drawing/2014/main" id="{F6A5FF92-11D1-2843-A4C7-A33484788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255" y="663177"/>
            <a:ext cx="11135564" cy="103412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3A313C1-41F3-E24A-9004-F00D19CCA2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3623" y="1833127"/>
            <a:ext cx="5464655" cy="432093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E12E189-7E93-3C43-8F36-B94CE94534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623" y="6255657"/>
            <a:ext cx="1157500" cy="399392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316547B-CE9D-164D-98BE-87506BB861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62891" y="1833127"/>
            <a:ext cx="5383375" cy="432093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492011D-6660-3941-9F02-BB39AD42EA30}"/>
              </a:ext>
            </a:extLst>
          </p:cNvPr>
          <p:cNvSpPr/>
          <p:nvPr userDrawn="1"/>
        </p:nvSpPr>
        <p:spPr>
          <a:xfrm>
            <a:off x="6107615" y="3"/>
            <a:ext cx="6084388" cy="380164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20127A8-6EB2-5C49-9B37-7E854F2F4F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1"/>
            <a:ext cx="6107612" cy="38016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8A0F01B-922B-144E-B666-C7137972B530}"/>
              </a:ext>
            </a:extLst>
          </p:cNvPr>
          <p:cNvSpPr txBox="1"/>
          <p:nvPr userDrawn="1"/>
        </p:nvSpPr>
        <p:spPr>
          <a:xfrm>
            <a:off x="4287748" y="2082229"/>
            <a:ext cx="0" cy="0"/>
          </a:xfrm>
          <a:prstGeom prst="rect">
            <a:avLst/>
          </a:prstGeom>
          <a:noFill/>
        </p:spPr>
        <p:txBody>
          <a:bodyPr wrap="none" lIns="60960" rIns="60960" rtlCol="0">
            <a:noAutofit/>
          </a:bodyPr>
          <a:lstStyle/>
          <a:p>
            <a:endParaRPr lang="en-US" sz="1867" dirty="0"/>
          </a:p>
        </p:txBody>
      </p:sp>
    </p:spTree>
    <p:extLst>
      <p:ext uri="{BB962C8B-B14F-4D97-AF65-F5344CB8AC3E}">
        <p14:creationId xmlns:p14="http://schemas.microsoft.com/office/powerpoint/2010/main" val="92987796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8426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36963" y="3564819"/>
            <a:ext cx="9518073" cy="1477328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800" b="1" baseline="0">
                <a:solidFill>
                  <a:srgbClr val="404040"/>
                </a:solidFill>
                <a:latin typeface="Georgia" panose="02040502050405020303" pitchFamily="18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Same. Capitalize Each Word</a:t>
            </a:r>
          </a:p>
        </p:txBody>
      </p:sp>
      <p:grpSp>
        <p:nvGrpSpPr>
          <p:cNvPr id="16" name="object 3"/>
          <p:cNvGrpSpPr/>
          <p:nvPr userDrawn="1"/>
        </p:nvGrpSpPr>
        <p:grpSpPr>
          <a:xfrm>
            <a:off x="6096" y="4063"/>
            <a:ext cx="12180147" cy="1524000"/>
            <a:chOff x="4572" y="3047"/>
            <a:chExt cx="9135110" cy="1143000"/>
          </a:xfrm>
        </p:grpSpPr>
        <p:sp>
          <p:nvSpPr>
            <p:cNvPr id="17" name="object 4"/>
            <p:cNvSpPr/>
            <p:nvPr/>
          </p:nvSpPr>
          <p:spPr>
            <a:xfrm>
              <a:off x="4543043" y="3047"/>
              <a:ext cx="4596765" cy="1143000"/>
            </a:xfrm>
            <a:custGeom>
              <a:avLst/>
              <a:gdLst/>
              <a:ahLst/>
              <a:cxnLst/>
              <a:rect l="l" t="t" r="r" b="b"/>
              <a:pathLst>
                <a:path w="4596765" h="1143000">
                  <a:moveTo>
                    <a:pt x="4596384" y="0"/>
                  </a:moveTo>
                  <a:lnTo>
                    <a:pt x="0" y="0"/>
                  </a:lnTo>
                  <a:lnTo>
                    <a:pt x="0" y="1143000"/>
                  </a:lnTo>
                  <a:lnTo>
                    <a:pt x="4596384" y="1143000"/>
                  </a:lnTo>
                  <a:lnTo>
                    <a:pt x="4596384" y="0"/>
                  </a:lnTo>
                  <a:close/>
                </a:path>
              </a:pathLst>
            </a:custGeom>
            <a:solidFill>
              <a:srgbClr val="42536C"/>
            </a:solidFill>
          </p:spPr>
          <p:txBody>
            <a:bodyPr wrap="square" lIns="0" tIns="0" rIns="0" bIns="0" rtlCol="0"/>
            <a:lstStyle/>
            <a:p>
              <a:endParaRPr sz="320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pic>
          <p:nvPicPr>
            <p:cNvPr id="19" name="object 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572" y="3048"/>
              <a:ext cx="4540676" cy="1142744"/>
            </a:xfrm>
            <a:prstGeom prst="rect">
              <a:avLst/>
            </a:prstGeom>
          </p:spPr>
        </p:pic>
        <p:pic>
          <p:nvPicPr>
            <p:cNvPr id="23" name="object 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643883" y="272796"/>
              <a:ext cx="1790699" cy="589787"/>
            </a:xfrm>
            <a:prstGeom prst="rect">
              <a:avLst/>
            </a:prstGeom>
          </p:spPr>
        </p:pic>
      </p:grpSp>
      <p:sp>
        <p:nvSpPr>
          <p:cNvPr id="24" name="bg object 18"/>
          <p:cNvSpPr/>
          <p:nvPr userDrawn="1"/>
        </p:nvSpPr>
        <p:spPr>
          <a:xfrm>
            <a:off x="6096" y="6289056"/>
            <a:ext cx="12180147" cy="565573"/>
          </a:xfrm>
          <a:custGeom>
            <a:avLst/>
            <a:gdLst/>
            <a:ahLst/>
            <a:cxnLst/>
            <a:rect l="l" t="t" r="r" b="b"/>
            <a:pathLst>
              <a:path w="9135110" h="424179">
                <a:moveTo>
                  <a:pt x="9134856" y="0"/>
                </a:moveTo>
                <a:lnTo>
                  <a:pt x="0" y="0"/>
                </a:lnTo>
                <a:lnTo>
                  <a:pt x="0" y="423659"/>
                </a:lnTo>
                <a:lnTo>
                  <a:pt x="9134856" y="423659"/>
                </a:lnTo>
                <a:lnTo>
                  <a:pt x="9134856" y="0"/>
                </a:lnTo>
                <a:close/>
              </a:path>
            </a:pathLst>
          </a:custGeom>
          <a:solidFill>
            <a:srgbClr val="42536C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336963" y="2681787"/>
            <a:ext cx="9518073" cy="757130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 algn="ctr">
              <a:lnSpc>
                <a:spcPct val="100000"/>
              </a:lnSpc>
              <a:spcBef>
                <a:spcPts val="600"/>
              </a:spcBef>
              <a:defRPr sz="4800" b="1" baseline="0">
                <a:solidFill>
                  <a:srgbClr val="E80032"/>
                </a:solidFill>
                <a:latin typeface="Georgia" panose="02040502050405020303" pitchFamily="18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Title in Georgia Font 48</a:t>
            </a:r>
          </a:p>
        </p:txBody>
      </p:sp>
    </p:spTree>
    <p:extLst>
      <p:ext uri="{BB962C8B-B14F-4D97-AF65-F5344CB8AC3E}">
        <p14:creationId xmlns:p14="http://schemas.microsoft.com/office/powerpoint/2010/main" val="4088632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2789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526721" y="2903631"/>
            <a:ext cx="7138555" cy="738664"/>
          </a:xfrm>
        </p:spPr>
        <p:txBody>
          <a:bodyPr lIns="0" tIns="0" rIns="0" bIns="0"/>
          <a:lstStyle>
            <a:lvl1pPr>
              <a:defRPr sz="4800" b="1" i="0">
                <a:solidFill>
                  <a:srgbClr val="EA001A"/>
                </a:solidFill>
                <a:latin typeface="Georgia" panose="02040502050405020303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485136" y="1578863"/>
            <a:ext cx="7410873" cy="276999"/>
          </a:xfrm>
        </p:spPr>
        <p:txBody>
          <a:bodyPr lIns="0" tIns="0" rIns="0" bIns="0"/>
          <a:lstStyle>
            <a:lvl1pPr>
              <a:defRPr sz="18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/>
          </a:p>
        </p:txBody>
      </p:sp>
      <p:sp>
        <p:nvSpPr>
          <p:cNvPr id="10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1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2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bg object 19"/>
          <p:cNvSpPr/>
          <p:nvPr userDrawn="1"/>
        </p:nvSpPr>
        <p:spPr>
          <a:xfrm>
            <a:off x="542545" y="701040"/>
            <a:ext cx="11107420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7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720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bg object 19"/>
          <p:cNvSpPr/>
          <p:nvPr/>
        </p:nvSpPr>
        <p:spPr>
          <a:xfrm>
            <a:off x="542545" y="701040"/>
            <a:ext cx="11107420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581151" y="1048511"/>
            <a:ext cx="5127413" cy="4954693"/>
          </a:xfrm>
          <a:custGeom>
            <a:avLst/>
            <a:gdLst/>
            <a:ahLst/>
            <a:cxnLst/>
            <a:rect l="l" t="t" r="r" b="b"/>
            <a:pathLst>
              <a:path w="3845560" h="3716020">
                <a:moveTo>
                  <a:pt x="0" y="0"/>
                </a:moveTo>
                <a:lnTo>
                  <a:pt x="3845052" y="0"/>
                </a:lnTo>
                <a:lnTo>
                  <a:pt x="3845052" y="3715512"/>
                </a:lnTo>
                <a:lnTo>
                  <a:pt x="0" y="3715512"/>
                </a:lnTo>
                <a:lnTo>
                  <a:pt x="0" y="0"/>
                </a:lnTo>
                <a:close/>
              </a:path>
            </a:pathLst>
          </a:custGeom>
          <a:ln w="57912">
            <a:solidFill>
              <a:srgbClr val="EAEBEA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6516624" y="1798319"/>
            <a:ext cx="5127413" cy="4005580"/>
          </a:xfrm>
          <a:custGeom>
            <a:avLst/>
            <a:gdLst/>
            <a:ahLst/>
            <a:cxnLst/>
            <a:rect l="l" t="t" r="r" b="b"/>
            <a:pathLst>
              <a:path w="3845559" h="3004185">
                <a:moveTo>
                  <a:pt x="3845039" y="0"/>
                </a:moveTo>
                <a:lnTo>
                  <a:pt x="0" y="0"/>
                </a:lnTo>
                <a:lnTo>
                  <a:pt x="0" y="120396"/>
                </a:lnTo>
                <a:lnTo>
                  <a:pt x="0" y="3003804"/>
                </a:lnTo>
                <a:lnTo>
                  <a:pt x="3845039" y="3003804"/>
                </a:lnTo>
                <a:lnTo>
                  <a:pt x="3845039" y="120396"/>
                </a:lnTo>
                <a:lnTo>
                  <a:pt x="3845039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6516624" y="1798321"/>
            <a:ext cx="5127413" cy="4005580"/>
          </a:xfrm>
          <a:custGeom>
            <a:avLst/>
            <a:gdLst/>
            <a:ahLst/>
            <a:cxnLst/>
            <a:rect l="l" t="t" r="r" b="b"/>
            <a:pathLst>
              <a:path w="3845559" h="3004185">
                <a:moveTo>
                  <a:pt x="0" y="0"/>
                </a:moveTo>
                <a:lnTo>
                  <a:pt x="3845051" y="0"/>
                </a:lnTo>
                <a:lnTo>
                  <a:pt x="3845051" y="3003804"/>
                </a:lnTo>
                <a:lnTo>
                  <a:pt x="0" y="3003804"/>
                </a:lnTo>
                <a:lnTo>
                  <a:pt x="0" y="0"/>
                </a:lnTo>
                <a:close/>
              </a:path>
            </a:pathLst>
          </a:custGeom>
          <a:ln w="57912">
            <a:solidFill>
              <a:srgbClr val="EAEBEA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526721" y="2903631"/>
            <a:ext cx="7138555" cy="738664"/>
          </a:xfrm>
        </p:spPr>
        <p:txBody>
          <a:bodyPr lIns="0" tIns="0" rIns="0" bIns="0"/>
          <a:lstStyle>
            <a:lvl1pPr>
              <a:defRPr sz="4800" b="1" i="0">
                <a:solidFill>
                  <a:srgbClr val="EA001A"/>
                </a:solidFill>
                <a:latin typeface="Georgia" panose="02040502050405020303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89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698047" y="2041244"/>
            <a:ext cx="4831927" cy="289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rgbClr val="40404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/>
          </a:p>
        </p:txBody>
      </p:sp>
      <p:sp>
        <p:nvSpPr>
          <p:cNvPr id="15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3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24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554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lient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6838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526721" y="2903631"/>
            <a:ext cx="7138555" cy="738664"/>
          </a:xfrm>
        </p:spPr>
        <p:txBody>
          <a:bodyPr lIns="0" tIns="0" rIns="0" bIns="0"/>
          <a:lstStyle>
            <a:lvl1pPr>
              <a:defRPr sz="4800" b="1" i="0">
                <a:solidFill>
                  <a:srgbClr val="EA001A"/>
                </a:solidFill>
                <a:latin typeface="Georgia" panose="02040502050405020303" pitchFamily="18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/>
          </a:p>
        </p:txBody>
      </p:sp>
      <p:sp>
        <p:nvSpPr>
          <p:cNvPr id="9" name="bg object 19"/>
          <p:cNvSpPr/>
          <p:nvPr userDrawn="1"/>
        </p:nvSpPr>
        <p:spPr>
          <a:xfrm>
            <a:off x="542545" y="701040"/>
            <a:ext cx="11107420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bg object 18"/>
          <p:cNvSpPr/>
          <p:nvPr userDrawn="1"/>
        </p:nvSpPr>
        <p:spPr>
          <a:xfrm>
            <a:off x="6096" y="6289056"/>
            <a:ext cx="12180147" cy="565573"/>
          </a:xfrm>
          <a:custGeom>
            <a:avLst/>
            <a:gdLst/>
            <a:ahLst/>
            <a:cxnLst/>
            <a:rect l="l" t="t" r="r" b="b"/>
            <a:pathLst>
              <a:path w="9135110" h="424179">
                <a:moveTo>
                  <a:pt x="9134856" y="0"/>
                </a:moveTo>
                <a:lnTo>
                  <a:pt x="0" y="0"/>
                </a:lnTo>
                <a:lnTo>
                  <a:pt x="0" y="423659"/>
                </a:lnTo>
                <a:lnTo>
                  <a:pt x="9134856" y="423659"/>
                </a:lnTo>
                <a:lnTo>
                  <a:pt x="9134856" y="0"/>
                </a:lnTo>
                <a:close/>
              </a:path>
            </a:pathLst>
          </a:custGeom>
          <a:solidFill>
            <a:srgbClr val="42536C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514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li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1916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7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bg object 19"/>
          <p:cNvSpPr/>
          <p:nvPr userDrawn="1"/>
        </p:nvSpPr>
        <p:spPr>
          <a:xfrm>
            <a:off x="542545" y="701040"/>
            <a:ext cx="11107420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899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4970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10934700" cy="509541"/>
          </a:xfrm>
          <a:prstGeom prst="rect">
            <a:avLst/>
          </a:prstGeom>
        </p:spPr>
        <p:txBody>
          <a:bodyPr vert="horz" wrap="square" lIns="0" tIns="18288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bg object 19"/>
          <p:cNvSpPr/>
          <p:nvPr userDrawn="1"/>
        </p:nvSpPr>
        <p:spPr>
          <a:xfrm>
            <a:off x="628650" y="701040"/>
            <a:ext cx="10953752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9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20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08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8CA9EB8-5002-44B3-B479-64E71033ED4E}"/>
              </a:ext>
            </a:extLst>
          </p:cNvPr>
          <p:cNvSpPr/>
          <p:nvPr/>
        </p:nvSpPr>
        <p:spPr bwMode="white">
          <a:xfrm>
            <a:off x="7050460" y="6484768"/>
            <a:ext cx="5142701" cy="3732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41867" y="2611405"/>
            <a:ext cx="11108267" cy="1470025"/>
          </a:xfrm>
          <a:prstGeom prst="rect">
            <a:avLst/>
          </a:prstGeom>
        </p:spPr>
        <p:txBody>
          <a:bodyPr anchor="ctr"/>
          <a:lstStyle>
            <a:lvl1pPr algn="ctr">
              <a:defRPr sz="4267" cap="sm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Add Presenta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1867" y="4420452"/>
            <a:ext cx="11108267" cy="73152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Author or Presenter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EFA83E1-759B-405B-B68A-9B6C740828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1867" y="5164667"/>
            <a:ext cx="11108267" cy="7302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667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C5B8BF8-52F9-4CD9-BBF5-A931485F4965}"/>
              </a:ext>
            </a:extLst>
          </p:cNvPr>
          <p:cNvSpPr/>
          <p:nvPr/>
        </p:nvSpPr>
        <p:spPr bwMode="white">
          <a:xfrm>
            <a:off x="1" y="6256239"/>
            <a:ext cx="11989961" cy="60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B256C21-EA40-4B0F-97E7-E901D269C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867" y="6484768"/>
            <a:ext cx="11108267" cy="365125"/>
          </a:xfrm>
          <a:prstGeom prst="rect">
            <a:avLst/>
          </a:prstGeom>
        </p:spPr>
        <p:txBody>
          <a:bodyPr anchor="ctr"/>
          <a:lstStyle>
            <a:lvl1pPr algn="ctr">
              <a:defRPr sz="1333" b="1">
                <a:solidFill>
                  <a:srgbClr val="E80032"/>
                </a:solidFill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9F1A0B-AAE6-8140-AE4E-1EDC6054DA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0144" y="0"/>
            <a:ext cx="6101189" cy="190662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4C786C2-7050-E241-9BB1-B64ED869C3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120144" cy="1906621"/>
          </a:xfrm>
          <a:prstGeom prst="rect">
            <a:avLst/>
          </a:prstGeom>
        </p:spPr>
      </p:pic>
      <p:sp>
        <p:nvSpPr>
          <p:cNvPr id="18" name="Text Placeholder 19">
            <a:extLst>
              <a:ext uri="{FF2B5EF4-FFF2-40B4-BE49-F238E27FC236}">
                <a16:creationId xmlns:a16="http://schemas.microsoft.com/office/drawing/2014/main" id="{2D2CD543-92A5-B742-B0EC-B295F1AAD8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94616" y="2014919"/>
            <a:ext cx="4271016" cy="3565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FontTx/>
              <a:buNone/>
              <a:defRPr sz="1467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Optional Business or Function Nam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67EA610-14B3-774C-9051-26ADEA1D6AA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2162" y="1455305"/>
            <a:ext cx="2615965" cy="90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003424"/>
      </p:ext>
    </p:extLst>
  </p:cSld>
  <p:clrMapOvr>
    <a:masterClrMapping/>
  </p:clrMapOvr>
  <p:hf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9442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10934700" cy="509541"/>
          </a:xfrm>
        </p:spPr>
        <p:txBody>
          <a:bodyPr vert="horz"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9" name="bg object 19"/>
          <p:cNvSpPr/>
          <p:nvPr userDrawn="1"/>
        </p:nvSpPr>
        <p:spPr>
          <a:xfrm>
            <a:off x="628650" y="701040"/>
            <a:ext cx="10953752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1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2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022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4542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2865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6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7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04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7871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075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4161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31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621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3373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125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6256800" cy="509541"/>
          </a:xfrm>
          <a:prstGeom prst="rect">
            <a:avLst/>
          </a:prstGeom>
        </p:spPr>
        <p:txBody>
          <a:bodyPr vert="horz" wrap="square" lIns="0" tIns="18288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7851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463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368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0579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3629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1902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0497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5756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792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8CA9EB8-5002-44B3-B479-64E71033ED4E}"/>
              </a:ext>
            </a:extLst>
          </p:cNvPr>
          <p:cNvSpPr/>
          <p:nvPr/>
        </p:nvSpPr>
        <p:spPr bwMode="white">
          <a:xfrm>
            <a:off x="7050460" y="6484768"/>
            <a:ext cx="5142701" cy="3732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41867" y="2611405"/>
            <a:ext cx="11108267" cy="1470025"/>
          </a:xfrm>
          <a:prstGeom prst="rect">
            <a:avLst/>
          </a:prstGeom>
        </p:spPr>
        <p:txBody>
          <a:bodyPr anchor="ctr"/>
          <a:lstStyle>
            <a:lvl1pPr algn="ctr">
              <a:defRPr sz="4267" cap="sm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Add Presenta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1867" y="4420452"/>
            <a:ext cx="11108267" cy="73152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Author or Presenter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EFA83E1-759B-405B-B68A-9B6C740828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1867" y="5164667"/>
            <a:ext cx="11108267" cy="7302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667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C5B8BF8-52F9-4CD9-BBF5-A931485F4965}"/>
              </a:ext>
            </a:extLst>
          </p:cNvPr>
          <p:cNvSpPr/>
          <p:nvPr/>
        </p:nvSpPr>
        <p:spPr bwMode="white">
          <a:xfrm>
            <a:off x="1" y="6256239"/>
            <a:ext cx="11989961" cy="60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B256C21-EA40-4B0F-97E7-E901D269C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867" y="6484768"/>
            <a:ext cx="11108267" cy="365125"/>
          </a:xfrm>
          <a:prstGeom prst="rect">
            <a:avLst/>
          </a:prstGeom>
        </p:spPr>
        <p:txBody>
          <a:bodyPr anchor="ctr"/>
          <a:lstStyle>
            <a:lvl1pPr algn="ctr">
              <a:defRPr sz="1333" b="1">
                <a:solidFill>
                  <a:srgbClr val="E80032"/>
                </a:solidFill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2793692-3B2E-854C-B9AE-EFDDDC678D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2"/>
            <a:ext cx="12191999" cy="1290385"/>
          </a:xfrm>
          <a:prstGeom prst="rect">
            <a:avLst/>
          </a:prstGeom>
        </p:spPr>
      </p:pic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631C4B46-FD68-2347-9FC3-FB62C9D386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46801" y="825496"/>
            <a:ext cx="5542980" cy="4648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FontTx/>
              <a:buNone/>
              <a:defRPr sz="18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ptional Business or Function Nam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6C77F5B-0D90-034A-849B-A50B854966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226" y="839071"/>
            <a:ext cx="2615965" cy="90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198878"/>
      </p:ext>
    </p:extLst>
  </p:cSld>
  <p:clrMapOvr>
    <a:masterClrMapping/>
  </p:clrMapOvr>
  <p:hf hd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194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6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6251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9912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2462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5" name="TextBox 14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4811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3169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4673646" cy="509541"/>
          </a:xfrm>
          <a:prstGeom prst="rect">
            <a:avLst/>
          </a:prstGeom>
        </p:spPr>
        <p:txBody>
          <a:bodyPr vert="horz" wrap="square" lIns="0" tIns="18288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691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0708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4673646" cy="509541"/>
          </a:xfrm>
          <a:prstGeom prst="rect">
            <a:avLst/>
          </a:prstGeom>
        </p:spPr>
        <p:txBody>
          <a:bodyPr vert="horz" wrap="square" lIns="0" tIns="18288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8" name="TextBox 1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4742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2292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6256800" cy="509541"/>
          </a:xfrm>
          <a:prstGeom prst="rect">
            <a:avLst/>
          </a:prstGeom>
        </p:spPr>
        <p:txBody>
          <a:bodyPr vert="horz" wrap="square" lIns="0" tIns="18288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082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288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6256800" cy="509541"/>
          </a:xfrm>
          <a:prstGeom prst="rect">
            <a:avLst/>
          </a:prstGeom>
        </p:spPr>
        <p:txBody>
          <a:bodyPr vert="horz" wrap="square" lIns="0" tIns="18288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22" name="TextBox 2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6369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8286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5468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9080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617A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5587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2A35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4566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42536C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486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81DE34CD-E61D-4FA8-ACC1-67A1F24A3A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2B22BB1-91BE-41E5-AFBB-E2ECEFA427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0F091FA-7E86-9541-ACB9-96516A4C358F}"/>
              </a:ext>
            </a:extLst>
          </p:cNvPr>
          <p:cNvGrpSpPr/>
          <p:nvPr userDrawn="1"/>
        </p:nvGrpSpPr>
        <p:grpSpPr>
          <a:xfrm>
            <a:off x="-12671" y="1"/>
            <a:ext cx="12215224" cy="172327"/>
            <a:chOff x="-9503" y="0"/>
            <a:chExt cx="9161418" cy="129245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7CB0A7A-37ED-8942-9694-D860F655807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9503" y="776"/>
              <a:ext cx="4580709" cy="128469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04954C6-4E1B-D14C-87AD-59FAD735FF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V="1">
              <a:off x="4571206" y="0"/>
              <a:ext cx="4580709" cy="129245"/>
            </a:xfrm>
            <a:prstGeom prst="rect">
              <a:avLst/>
            </a:prstGeom>
          </p:spPr>
        </p:pic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FCC3FADD-37BD-9C4B-9927-5B2CF7E2D4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070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264901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7410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10933200" cy="509541"/>
          </a:xfrm>
        </p:spPr>
        <p:txBody>
          <a:bodyPr vert="horz"/>
          <a:lstStyle>
            <a:lvl1pPr>
              <a:defRPr sz="32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3475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7065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1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5540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131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6711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556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4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842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7424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object 3"/>
          <p:cNvGrpSpPr/>
          <p:nvPr userDrawn="1"/>
        </p:nvGrpSpPr>
        <p:grpSpPr>
          <a:xfrm>
            <a:off x="6096" y="4063"/>
            <a:ext cx="12180147" cy="1524000"/>
            <a:chOff x="4572" y="3047"/>
            <a:chExt cx="9135110" cy="1143000"/>
          </a:xfrm>
        </p:grpSpPr>
        <p:sp>
          <p:nvSpPr>
            <p:cNvPr id="11" name="object 4"/>
            <p:cNvSpPr/>
            <p:nvPr/>
          </p:nvSpPr>
          <p:spPr>
            <a:xfrm>
              <a:off x="4543043" y="3047"/>
              <a:ext cx="4596765" cy="1143000"/>
            </a:xfrm>
            <a:custGeom>
              <a:avLst/>
              <a:gdLst/>
              <a:ahLst/>
              <a:cxnLst/>
              <a:rect l="l" t="t" r="r" b="b"/>
              <a:pathLst>
                <a:path w="4596765" h="1143000">
                  <a:moveTo>
                    <a:pt x="4596384" y="0"/>
                  </a:moveTo>
                  <a:lnTo>
                    <a:pt x="0" y="0"/>
                  </a:lnTo>
                  <a:lnTo>
                    <a:pt x="0" y="1143000"/>
                  </a:lnTo>
                  <a:lnTo>
                    <a:pt x="4596384" y="1143000"/>
                  </a:lnTo>
                  <a:lnTo>
                    <a:pt x="4596384" y="0"/>
                  </a:lnTo>
                  <a:close/>
                </a:path>
              </a:pathLst>
            </a:custGeom>
            <a:solidFill>
              <a:srgbClr val="42536C"/>
            </a:solidFill>
          </p:spPr>
          <p:txBody>
            <a:bodyPr wrap="square" lIns="0" tIns="0" rIns="0" bIns="0" rtlCol="0"/>
            <a:lstStyle/>
            <a:p>
              <a:endParaRPr sz="320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pic>
          <p:nvPicPr>
            <p:cNvPr id="12" name="object 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572" y="3048"/>
              <a:ext cx="4540676" cy="1142744"/>
            </a:xfrm>
            <a:prstGeom prst="rect">
              <a:avLst/>
            </a:prstGeom>
          </p:spPr>
        </p:pic>
        <p:pic>
          <p:nvPicPr>
            <p:cNvPr id="13" name="object 6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643883" y="272796"/>
              <a:ext cx="1790699" cy="589787"/>
            </a:xfrm>
            <a:prstGeom prst="rect">
              <a:avLst/>
            </a:prstGeom>
          </p:spPr>
        </p:pic>
      </p:grpSp>
      <p:sp>
        <p:nvSpPr>
          <p:cNvPr id="14" name="bg object 18"/>
          <p:cNvSpPr/>
          <p:nvPr userDrawn="1"/>
        </p:nvSpPr>
        <p:spPr>
          <a:xfrm>
            <a:off x="6096" y="6289056"/>
            <a:ext cx="12180147" cy="565573"/>
          </a:xfrm>
          <a:custGeom>
            <a:avLst/>
            <a:gdLst/>
            <a:ahLst/>
            <a:cxnLst/>
            <a:rect l="l" t="t" r="r" b="b"/>
            <a:pathLst>
              <a:path w="9135110" h="424179">
                <a:moveTo>
                  <a:pt x="9134856" y="0"/>
                </a:moveTo>
                <a:lnTo>
                  <a:pt x="0" y="0"/>
                </a:lnTo>
                <a:lnTo>
                  <a:pt x="0" y="423659"/>
                </a:lnTo>
                <a:lnTo>
                  <a:pt x="9134856" y="423659"/>
                </a:lnTo>
                <a:lnTo>
                  <a:pt x="9134856" y="0"/>
                </a:lnTo>
                <a:close/>
              </a:path>
            </a:pathLst>
          </a:custGeom>
          <a:solidFill>
            <a:srgbClr val="42536C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336963" y="2875002"/>
            <a:ext cx="9518073" cy="110799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6600" b="1" dirty="0">
                <a:solidFill>
                  <a:srgbClr val="40404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hank</a:t>
            </a:r>
            <a:r>
              <a:rPr lang="en-US" sz="6600" b="1" baseline="0" dirty="0">
                <a:solidFill>
                  <a:srgbClr val="40404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you</a:t>
            </a:r>
            <a:endParaRPr lang="en-US" sz="6600" b="1" dirty="0">
              <a:solidFill>
                <a:srgbClr val="40404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385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6569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4" name="TextBox 93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9338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0816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36963" y="3564819"/>
            <a:ext cx="9518073" cy="73866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800" b="1" baseline="0">
                <a:solidFill>
                  <a:srgbClr val="40404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Same. Capitalize Each Word</a:t>
            </a:r>
          </a:p>
        </p:txBody>
      </p:sp>
      <p:grpSp>
        <p:nvGrpSpPr>
          <p:cNvPr id="17" name="object 3"/>
          <p:cNvGrpSpPr/>
          <p:nvPr userDrawn="1"/>
        </p:nvGrpSpPr>
        <p:grpSpPr>
          <a:xfrm>
            <a:off x="6096" y="4063"/>
            <a:ext cx="12180147" cy="1524000"/>
            <a:chOff x="4572" y="3047"/>
            <a:chExt cx="9135110" cy="1143000"/>
          </a:xfrm>
        </p:grpSpPr>
        <p:sp>
          <p:nvSpPr>
            <p:cNvPr id="19" name="object 4"/>
            <p:cNvSpPr/>
            <p:nvPr/>
          </p:nvSpPr>
          <p:spPr>
            <a:xfrm>
              <a:off x="4543043" y="3047"/>
              <a:ext cx="4596765" cy="1143000"/>
            </a:xfrm>
            <a:custGeom>
              <a:avLst/>
              <a:gdLst/>
              <a:ahLst/>
              <a:cxnLst/>
              <a:rect l="l" t="t" r="r" b="b"/>
              <a:pathLst>
                <a:path w="4596765" h="1143000">
                  <a:moveTo>
                    <a:pt x="4596384" y="0"/>
                  </a:moveTo>
                  <a:lnTo>
                    <a:pt x="0" y="0"/>
                  </a:lnTo>
                  <a:lnTo>
                    <a:pt x="0" y="1143000"/>
                  </a:lnTo>
                  <a:lnTo>
                    <a:pt x="4596384" y="1143000"/>
                  </a:lnTo>
                  <a:lnTo>
                    <a:pt x="4596384" y="0"/>
                  </a:lnTo>
                  <a:close/>
                </a:path>
              </a:pathLst>
            </a:custGeom>
            <a:solidFill>
              <a:srgbClr val="42536C"/>
            </a:solidFill>
          </p:spPr>
          <p:txBody>
            <a:bodyPr wrap="square" lIns="0" tIns="0" rIns="0" bIns="0" rtlCol="0"/>
            <a:lstStyle/>
            <a:p>
              <a:endParaRPr sz="320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pic>
          <p:nvPicPr>
            <p:cNvPr id="23" name="object 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572" y="3048"/>
              <a:ext cx="4540676" cy="1142744"/>
            </a:xfrm>
            <a:prstGeom prst="rect">
              <a:avLst/>
            </a:prstGeom>
          </p:spPr>
        </p:pic>
        <p:pic>
          <p:nvPicPr>
            <p:cNvPr id="24" name="object 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643883" y="272796"/>
              <a:ext cx="1790699" cy="589787"/>
            </a:xfrm>
            <a:prstGeom prst="rect">
              <a:avLst/>
            </a:prstGeom>
          </p:spPr>
        </p:pic>
      </p:grpSp>
      <p:sp>
        <p:nvSpPr>
          <p:cNvPr id="25" name="bg object 18"/>
          <p:cNvSpPr/>
          <p:nvPr userDrawn="1"/>
        </p:nvSpPr>
        <p:spPr>
          <a:xfrm>
            <a:off x="6096" y="6289056"/>
            <a:ext cx="12180147" cy="565573"/>
          </a:xfrm>
          <a:custGeom>
            <a:avLst/>
            <a:gdLst/>
            <a:ahLst/>
            <a:cxnLst/>
            <a:rect l="l" t="t" r="r" b="b"/>
            <a:pathLst>
              <a:path w="9135110" h="424179">
                <a:moveTo>
                  <a:pt x="9134856" y="0"/>
                </a:moveTo>
                <a:lnTo>
                  <a:pt x="0" y="0"/>
                </a:lnTo>
                <a:lnTo>
                  <a:pt x="0" y="423659"/>
                </a:lnTo>
                <a:lnTo>
                  <a:pt x="9134856" y="423659"/>
                </a:lnTo>
                <a:lnTo>
                  <a:pt x="9134856" y="0"/>
                </a:lnTo>
                <a:close/>
              </a:path>
            </a:pathLst>
          </a:custGeom>
          <a:solidFill>
            <a:srgbClr val="42536C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336963" y="2681787"/>
            <a:ext cx="9518073" cy="757130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 algn="ctr">
              <a:lnSpc>
                <a:spcPct val="100000"/>
              </a:lnSpc>
              <a:spcBef>
                <a:spcPts val="600"/>
              </a:spcBef>
              <a:defRPr sz="4800" b="1" baseline="0">
                <a:solidFill>
                  <a:srgbClr val="E80032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Title in Georgia Font 48</a:t>
            </a:r>
          </a:p>
        </p:txBody>
      </p:sp>
    </p:spTree>
    <p:extLst>
      <p:ext uri="{BB962C8B-B14F-4D97-AF65-F5344CB8AC3E}">
        <p14:creationId xmlns:p14="http://schemas.microsoft.com/office/powerpoint/2010/main" val="2760706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422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5" name="Object 3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8650" y="123929"/>
            <a:ext cx="10933350" cy="509541"/>
          </a:xfrm>
        </p:spPr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7" name="bg object 19"/>
          <p:cNvSpPr/>
          <p:nvPr userDrawn="1"/>
        </p:nvSpPr>
        <p:spPr>
          <a:xfrm>
            <a:off x="628650" y="701040"/>
            <a:ext cx="10953752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8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39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40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569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7814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bg object 19"/>
          <p:cNvSpPr/>
          <p:nvPr userDrawn="1"/>
        </p:nvSpPr>
        <p:spPr>
          <a:xfrm>
            <a:off x="628650" y="701040"/>
            <a:ext cx="10953752" cy="0"/>
          </a:xfrm>
          <a:custGeom>
            <a:avLst/>
            <a:gdLst/>
            <a:ahLst/>
            <a:cxnLst/>
            <a:rect l="l" t="t" r="r" b="b"/>
            <a:pathLst>
              <a:path w="8330565">
                <a:moveTo>
                  <a:pt x="0" y="0"/>
                </a:moveTo>
                <a:lnTo>
                  <a:pt x="8330183" y="0"/>
                </a:lnTo>
              </a:path>
            </a:pathLst>
          </a:custGeom>
          <a:ln w="9144">
            <a:solidFill>
              <a:srgbClr val="E80031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9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0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1006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0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3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5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6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1434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Logo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040D7D90-59F5-3843-B306-2F0EE34820BB}"/>
              </a:ext>
            </a:extLst>
          </p:cNvPr>
          <p:cNvGrpSpPr/>
          <p:nvPr userDrawn="1"/>
        </p:nvGrpSpPr>
        <p:grpSpPr>
          <a:xfrm>
            <a:off x="-12671" y="1"/>
            <a:ext cx="12215224" cy="172327"/>
            <a:chOff x="-9503" y="0"/>
            <a:chExt cx="9161418" cy="129245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F7E13BB5-FF4C-6442-BCF2-5739F953B6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9503" y="776"/>
              <a:ext cx="4580709" cy="128469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F9F650C2-7406-094B-B577-3D72613AD23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V="1">
              <a:off x="4571206" y="0"/>
              <a:ext cx="4580709" cy="129245"/>
            </a:xfrm>
            <a:prstGeom prst="rect">
              <a:avLst/>
            </a:prstGeom>
          </p:spPr>
        </p:pic>
      </p:grp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CB978F2-E9DC-43A6-A84F-48F54FD554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1867" y="889000"/>
            <a:ext cx="11106151" cy="5283200"/>
          </a:xfrm>
          <a:prstGeom prst="rect">
            <a:avLst/>
          </a:prstGeom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04D30FC-A071-49A3-9913-E7A7377092B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0216CBA7-4538-45AB-B121-91E8E5F03A4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93171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August 2019</a:t>
            </a: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732357EA-89F0-4A5C-864B-33A628789DB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49CFD2F-36B8-0841-B2EB-F5F312EEE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070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803647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0673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617A9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9276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5388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617A9F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590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8230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7574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475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6276529" cy="509541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1850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2383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8101584" cy="509541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0265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6343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659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4779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6285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7388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2387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01780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8440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839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6627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D185F9-ACC4-4ECC-B130-7B16B3C4764B}"/>
              </a:ext>
            </a:extLst>
          </p:cNvPr>
          <p:cNvSpPr/>
          <p:nvPr/>
        </p:nvSpPr>
        <p:spPr>
          <a:xfrm>
            <a:off x="0" y="6577582"/>
            <a:ext cx="12192000" cy="280417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BC4B5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4FF8E35B-3231-4F45-B01A-CF32805B9875}"/>
              </a:ext>
            </a:extLst>
          </p:cNvPr>
          <p:cNvSpPr>
            <a:spLocks noChangeAspect="1"/>
          </p:cNvSpPr>
          <p:nvPr/>
        </p:nvSpPr>
        <p:spPr>
          <a:xfrm>
            <a:off x="5343638" y="6296295"/>
            <a:ext cx="1518657" cy="548640"/>
          </a:xfrm>
          <a:prstGeom prst="diamond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A192EC-7358-4417-B8B5-A2EE672387C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9214" y="6384032"/>
            <a:ext cx="1059503" cy="36557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48EA302-157D-434D-B880-B29B5CC66066}"/>
              </a:ext>
            </a:extLst>
          </p:cNvPr>
          <p:cNvSpPr/>
          <p:nvPr/>
        </p:nvSpPr>
        <p:spPr bwMode="white">
          <a:xfrm>
            <a:off x="0" y="6385322"/>
            <a:ext cx="12192000" cy="472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C01AE467-E9ED-409C-AA8B-1C2E9BCFA1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29D5CE03-678D-4288-B7FF-4A2A3F6EF5A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87075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August 2019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9EF58070-D9CB-4DB3-9CA8-428FF4C6A5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844E1C-37CC-4BB0-85F6-6A8BDCFD6488}"/>
              </a:ext>
            </a:extLst>
          </p:cNvPr>
          <p:cNvSpPr/>
          <p:nvPr userDrawn="1"/>
        </p:nvSpPr>
        <p:spPr>
          <a:xfrm>
            <a:off x="0" y="6577582"/>
            <a:ext cx="12192000" cy="280417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BC4B5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E31D21-1F74-4859-91AB-060F38F56A41}"/>
              </a:ext>
            </a:extLst>
          </p:cNvPr>
          <p:cNvSpPr/>
          <p:nvPr userDrawn="1"/>
        </p:nvSpPr>
        <p:spPr bwMode="white">
          <a:xfrm>
            <a:off x="0" y="6385322"/>
            <a:ext cx="12192000" cy="472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744121D-6A0A-AC45-86FA-786BC76056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81" y="1453"/>
            <a:ext cx="12189419" cy="6856548"/>
          </a:xfrm>
          <a:prstGeom prst="rect">
            <a:avLst/>
          </a:prstGeom>
        </p:spPr>
      </p:pic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CB978F2-E9DC-43A6-A84F-48F54FD554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1867" y="2277184"/>
            <a:ext cx="11106151" cy="3895016"/>
          </a:xfrm>
          <a:prstGeom prst="rect">
            <a:avLst/>
          </a:prstGeom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49CFD2F-36B8-0841-B2EB-F5F312EEE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9538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4800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Divider Slide Title</a:t>
            </a:r>
          </a:p>
        </p:txBody>
      </p:sp>
      <p:sp>
        <p:nvSpPr>
          <p:cNvPr id="19" name="Slide Number Placeholder 3">
            <a:extLst>
              <a:ext uri="{FF2B5EF4-FFF2-40B4-BE49-F238E27FC236}">
                <a16:creationId xmlns:a16="http://schemas.microsoft.com/office/drawing/2014/main" id="{E4953707-39C9-40EE-A018-D13137D15C86}"/>
              </a:ext>
            </a:extLst>
          </p:cNvPr>
          <p:cNvSpPr txBox="1">
            <a:spLocks/>
          </p:cNvSpPr>
          <p:nvPr userDrawn="1"/>
        </p:nvSpPr>
        <p:spPr>
          <a:xfrm>
            <a:off x="11015266" y="6498440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000" b="1" kern="120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D1532F-61F1-B941-ACDF-6BC65E0B4055}" type="slidenum">
              <a:rPr lang="en-US" sz="1333" smtClean="0"/>
              <a:pPr/>
              <a:t>‹#›</a:t>
            </a:fld>
            <a:endParaRPr lang="en-US" sz="1333" dirty="0"/>
          </a:p>
        </p:txBody>
      </p:sp>
    </p:spTree>
    <p:extLst>
      <p:ext uri="{BB962C8B-B14F-4D97-AF65-F5344CB8AC3E}">
        <p14:creationId xmlns:p14="http://schemas.microsoft.com/office/powerpoint/2010/main" val="1814316175"/>
      </p:ext>
    </p:extLst>
  </p:cSld>
  <p:clrMapOvr>
    <a:masterClrMapping/>
  </p:clrMapOvr>
  <p:hf hdr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2574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8258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5810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4227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8546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4747822" cy="509541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1143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8040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4747822" cy="509541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802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639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6254496" cy="509541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0346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544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42536C"/>
              </a:gs>
              <a:gs pos="100000">
                <a:srgbClr val="344256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6254496" cy="509541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8620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4716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474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448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617A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532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2A35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0253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42536C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263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443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23929"/>
            <a:ext cx="10933200" cy="509541"/>
          </a:xfrm>
        </p:spPr>
        <p:txBody>
          <a:bodyPr vert="horz"/>
          <a:lstStyle>
            <a:lvl1pPr>
              <a:defRPr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057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D185F9-ACC4-4ECC-B130-7B16B3C4764B}"/>
              </a:ext>
            </a:extLst>
          </p:cNvPr>
          <p:cNvSpPr/>
          <p:nvPr/>
        </p:nvSpPr>
        <p:spPr>
          <a:xfrm>
            <a:off x="0" y="6577582"/>
            <a:ext cx="12192000" cy="280417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BC4B5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4FF8E35B-3231-4F45-B01A-CF32805B9875}"/>
              </a:ext>
            </a:extLst>
          </p:cNvPr>
          <p:cNvSpPr>
            <a:spLocks noChangeAspect="1"/>
          </p:cNvSpPr>
          <p:nvPr/>
        </p:nvSpPr>
        <p:spPr>
          <a:xfrm>
            <a:off x="5343638" y="6296295"/>
            <a:ext cx="1518657" cy="548640"/>
          </a:xfrm>
          <a:prstGeom prst="diamond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A192EC-7358-4417-B8B5-A2EE672387C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9214" y="6384032"/>
            <a:ext cx="1059503" cy="36557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48EA302-157D-434D-B880-B29B5CC66066}"/>
              </a:ext>
            </a:extLst>
          </p:cNvPr>
          <p:cNvSpPr/>
          <p:nvPr/>
        </p:nvSpPr>
        <p:spPr bwMode="white">
          <a:xfrm>
            <a:off x="0" y="6385322"/>
            <a:ext cx="12192000" cy="472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C01AE467-E9ED-409C-AA8B-1C2E9BCFA1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29D5CE03-678D-4288-B7FF-4A2A3F6EF5A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87075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August 2019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9EF58070-D9CB-4DB3-9CA8-428FF4C6A5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DOW CONFIDENTIAL - Do not share without permiss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844E1C-37CC-4BB0-85F6-6A8BDCFD6488}"/>
              </a:ext>
            </a:extLst>
          </p:cNvPr>
          <p:cNvSpPr/>
          <p:nvPr userDrawn="1"/>
        </p:nvSpPr>
        <p:spPr>
          <a:xfrm>
            <a:off x="0" y="6577582"/>
            <a:ext cx="12192000" cy="280417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BC4B5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E31D21-1F74-4859-91AB-060F38F56A41}"/>
              </a:ext>
            </a:extLst>
          </p:cNvPr>
          <p:cNvSpPr/>
          <p:nvPr userDrawn="1"/>
        </p:nvSpPr>
        <p:spPr bwMode="white">
          <a:xfrm>
            <a:off x="0" y="6385322"/>
            <a:ext cx="12192000" cy="472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CB978F2-E9DC-43A6-A84F-48F54FD554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1867" y="2277184"/>
            <a:ext cx="11106151" cy="3895016"/>
          </a:xfrm>
          <a:prstGeom prst="rect">
            <a:avLst/>
          </a:prstGeom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49CFD2F-36B8-0841-B2EB-F5F312EEE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9538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4800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Divider Slide Tit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688BE2C-4817-8D48-9AE9-1AFB97EBD5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81000"/>
          </a:xfrm>
          <a:prstGeom prst="rect">
            <a:avLst/>
          </a:prstGeom>
        </p:spPr>
      </p:pic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E4953707-39C9-40EE-A018-D13137D15C86}"/>
              </a:ext>
            </a:extLst>
          </p:cNvPr>
          <p:cNvSpPr txBox="1">
            <a:spLocks/>
          </p:cNvSpPr>
          <p:nvPr userDrawn="1"/>
        </p:nvSpPr>
        <p:spPr>
          <a:xfrm>
            <a:off x="11015266" y="6498440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000" b="1" kern="120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D1532F-61F1-B941-ACDF-6BC65E0B4055}" type="slidenum">
              <a:rPr lang="en-US" sz="1333" smtClean="0"/>
              <a:pPr/>
              <a:t>‹#›</a:t>
            </a:fld>
            <a:endParaRPr lang="en-US" sz="1333" dirty="0"/>
          </a:p>
        </p:txBody>
      </p:sp>
    </p:spTree>
    <p:extLst>
      <p:ext uri="{BB962C8B-B14F-4D97-AF65-F5344CB8AC3E}">
        <p14:creationId xmlns:p14="http://schemas.microsoft.com/office/powerpoint/2010/main" val="1366964183"/>
      </p:ext>
    </p:extLst>
  </p:cSld>
  <p:clrMapOvr>
    <a:masterClrMapping/>
  </p:clrMapOvr>
  <p:hf hdr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7522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31038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 cap="small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6898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545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8171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753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1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2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1316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9466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bg object 16"/>
          <p:cNvSpPr/>
          <p:nvPr userDrawn="1"/>
        </p:nvSpPr>
        <p:spPr>
          <a:xfrm>
            <a:off x="0" y="6497707"/>
            <a:ext cx="12192000" cy="360680"/>
          </a:xfrm>
          <a:custGeom>
            <a:avLst/>
            <a:gdLst/>
            <a:ahLst/>
            <a:cxnLst/>
            <a:rect l="l" t="t" r="r" b="b"/>
            <a:pathLst>
              <a:path w="9144000" h="270510">
                <a:moveTo>
                  <a:pt x="0" y="0"/>
                </a:moveTo>
                <a:lnTo>
                  <a:pt x="9143857" y="0"/>
                </a:lnTo>
                <a:lnTo>
                  <a:pt x="9143857" y="270219"/>
                </a:lnTo>
                <a:lnTo>
                  <a:pt x="0" y="270219"/>
                </a:lnTo>
                <a:lnTo>
                  <a:pt x="0" y="0"/>
                </a:lnTo>
                <a:close/>
              </a:path>
            </a:pathLst>
          </a:custGeom>
          <a:solidFill>
            <a:srgbClr val="E2E6E8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bg object 17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567586" y="6325615"/>
            <a:ext cx="1056615" cy="364421"/>
          </a:xfrm>
          <a:prstGeom prst="rect">
            <a:avLst/>
          </a:prstGeom>
        </p:spPr>
      </p:pic>
      <p:sp>
        <p:nvSpPr>
          <p:cNvPr id="15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8778241" y="6539547"/>
            <a:ext cx="2804160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4891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37717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object 3"/>
          <p:cNvGrpSpPr/>
          <p:nvPr userDrawn="1"/>
        </p:nvGrpSpPr>
        <p:grpSpPr>
          <a:xfrm>
            <a:off x="6096" y="4063"/>
            <a:ext cx="12180147" cy="1524000"/>
            <a:chOff x="4572" y="3047"/>
            <a:chExt cx="9135110" cy="1143000"/>
          </a:xfrm>
        </p:grpSpPr>
        <p:sp>
          <p:nvSpPr>
            <p:cNvPr id="11" name="object 4"/>
            <p:cNvSpPr/>
            <p:nvPr/>
          </p:nvSpPr>
          <p:spPr>
            <a:xfrm>
              <a:off x="4543043" y="3047"/>
              <a:ext cx="4596765" cy="1143000"/>
            </a:xfrm>
            <a:custGeom>
              <a:avLst/>
              <a:gdLst/>
              <a:ahLst/>
              <a:cxnLst/>
              <a:rect l="l" t="t" r="r" b="b"/>
              <a:pathLst>
                <a:path w="4596765" h="1143000">
                  <a:moveTo>
                    <a:pt x="4596384" y="0"/>
                  </a:moveTo>
                  <a:lnTo>
                    <a:pt x="0" y="0"/>
                  </a:lnTo>
                  <a:lnTo>
                    <a:pt x="0" y="1143000"/>
                  </a:lnTo>
                  <a:lnTo>
                    <a:pt x="4596384" y="1143000"/>
                  </a:lnTo>
                  <a:lnTo>
                    <a:pt x="4596384" y="0"/>
                  </a:lnTo>
                  <a:close/>
                </a:path>
              </a:pathLst>
            </a:custGeom>
            <a:solidFill>
              <a:srgbClr val="42536C"/>
            </a:solidFill>
          </p:spPr>
          <p:txBody>
            <a:bodyPr wrap="square" lIns="0" tIns="0" rIns="0" bIns="0" rtlCol="0"/>
            <a:lstStyle/>
            <a:p>
              <a:endParaRPr sz="320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pic>
          <p:nvPicPr>
            <p:cNvPr id="12" name="object 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572" y="3048"/>
              <a:ext cx="4540676" cy="1142744"/>
            </a:xfrm>
            <a:prstGeom prst="rect">
              <a:avLst/>
            </a:prstGeom>
          </p:spPr>
        </p:pic>
        <p:pic>
          <p:nvPicPr>
            <p:cNvPr id="13" name="object 6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643883" y="272796"/>
              <a:ext cx="1790699" cy="589787"/>
            </a:xfrm>
            <a:prstGeom prst="rect">
              <a:avLst/>
            </a:prstGeom>
          </p:spPr>
        </p:pic>
      </p:grpSp>
      <p:sp>
        <p:nvSpPr>
          <p:cNvPr id="14" name="bg object 18"/>
          <p:cNvSpPr/>
          <p:nvPr userDrawn="1"/>
        </p:nvSpPr>
        <p:spPr>
          <a:xfrm>
            <a:off x="6096" y="6289056"/>
            <a:ext cx="12180147" cy="565573"/>
          </a:xfrm>
          <a:custGeom>
            <a:avLst/>
            <a:gdLst/>
            <a:ahLst/>
            <a:cxnLst/>
            <a:rect l="l" t="t" r="r" b="b"/>
            <a:pathLst>
              <a:path w="9135110" h="424179">
                <a:moveTo>
                  <a:pt x="9134856" y="0"/>
                </a:moveTo>
                <a:lnTo>
                  <a:pt x="0" y="0"/>
                </a:lnTo>
                <a:lnTo>
                  <a:pt x="0" y="423659"/>
                </a:lnTo>
                <a:lnTo>
                  <a:pt x="9134856" y="423659"/>
                </a:lnTo>
                <a:lnTo>
                  <a:pt x="9134856" y="0"/>
                </a:lnTo>
                <a:close/>
              </a:path>
            </a:pathLst>
          </a:custGeom>
          <a:solidFill>
            <a:srgbClr val="42536C"/>
          </a:solidFill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336963" y="2875002"/>
            <a:ext cx="9518073" cy="110799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6600" b="1" dirty="0">
                <a:solidFill>
                  <a:srgbClr val="40404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hank</a:t>
            </a:r>
            <a:r>
              <a:rPr lang="en-US" sz="6600" b="1" baseline="0" dirty="0">
                <a:solidFill>
                  <a:srgbClr val="40404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you</a:t>
            </a:r>
            <a:endParaRPr lang="en-US" sz="6600" b="1" dirty="0">
              <a:solidFill>
                <a:srgbClr val="40404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015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945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2" name="TextBox 51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6504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9759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51965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225687" y="1115416"/>
            <a:ext cx="225670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b="1" cap="small" baseline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9066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6625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872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1651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00" b="1" cap="small" baseline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2029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42536C"/>
            </a:gs>
            <a:gs pos="100000">
              <a:srgbClr val="344256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37730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 cap="small" baseline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sp>
        <p:nvSpPr>
          <p:cNvPr id="9" name="bg object 18"/>
          <p:cNvSpPr/>
          <p:nvPr userDrawn="1"/>
        </p:nvSpPr>
        <p:spPr>
          <a:xfrm>
            <a:off x="10962453" y="6497707"/>
            <a:ext cx="0" cy="358140"/>
          </a:xfrm>
          <a:custGeom>
            <a:avLst/>
            <a:gdLst/>
            <a:ahLst/>
            <a:cxnLst/>
            <a:rect l="l" t="t" r="r" b="b"/>
            <a:pathLst>
              <a:path h="268604">
                <a:moveTo>
                  <a:pt x="0" y="0"/>
                </a:moveTo>
                <a:lnTo>
                  <a:pt x="0" y="268014"/>
                </a:lnTo>
              </a:path>
            </a:pathLst>
          </a:custGeom>
          <a:ln w="304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3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962453" y="6539547"/>
            <a:ext cx="6199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57575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kern="1200" dirty="0">
              <a:solidFill>
                <a:srgbClr val="575757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6562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0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9.xml"/><Relationship Id="rId21" Type="http://schemas.openxmlformats.org/officeDocument/2006/relationships/slideLayout" Target="../slideLayouts/slideLayout54.xml"/><Relationship Id="rId42" Type="http://schemas.openxmlformats.org/officeDocument/2006/relationships/slideLayout" Target="../slideLayouts/slideLayout75.xml"/><Relationship Id="rId47" Type="http://schemas.openxmlformats.org/officeDocument/2006/relationships/slideLayout" Target="../slideLayouts/slideLayout80.xml"/><Relationship Id="rId63" Type="http://schemas.openxmlformats.org/officeDocument/2006/relationships/slideLayout" Target="../slideLayouts/slideLayout96.xml"/><Relationship Id="rId68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32" Type="http://schemas.openxmlformats.org/officeDocument/2006/relationships/slideLayout" Target="../slideLayouts/slideLayout65.xml"/><Relationship Id="rId37" Type="http://schemas.openxmlformats.org/officeDocument/2006/relationships/slideLayout" Target="../slideLayouts/slideLayout70.xml"/><Relationship Id="rId40" Type="http://schemas.openxmlformats.org/officeDocument/2006/relationships/slideLayout" Target="../slideLayouts/slideLayout73.xml"/><Relationship Id="rId45" Type="http://schemas.openxmlformats.org/officeDocument/2006/relationships/slideLayout" Target="../slideLayouts/slideLayout78.xml"/><Relationship Id="rId53" Type="http://schemas.openxmlformats.org/officeDocument/2006/relationships/slideLayout" Target="../slideLayouts/slideLayout86.xml"/><Relationship Id="rId58" Type="http://schemas.openxmlformats.org/officeDocument/2006/relationships/slideLayout" Target="../slideLayouts/slideLayout91.xml"/><Relationship Id="rId66" Type="http://schemas.openxmlformats.org/officeDocument/2006/relationships/slideLayout" Target="../slideLayouts/slideLayout99.xml"/><Relationship Id="rId74" Type="http://schemas.openxmlformats.org/officeDocument/2006/relationships/tags" Target="../tags/tag2.xml"/><Relationship Id="rId5" Type="http://schemas.openxmlformats.org/officeDocument/2006/relationships/slideLayout" Target="../slideLayouts/slideLayout38.xml"/><Relationship Id="rId61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63.xml"/><Relationship Id="rId35" Type="http://schemas.openxmlformats.org/officeDocument/2006/relationships/slideLayout" Target="../slideLayouts/slideLayout68.xml"/><Relationship Id="rId43" Type="http://schemas.openxmlformats.org/officeDocument/2006/relationships/slideLayout" Target="../slideLayouts/slideLayout76.xml"/><Relationship Id="rId48" Type="http://schemas.openxmlformats.org/officeDocument/2006/relationships/slideLayout" Target="../slideLayouts/slideLayout81.xml"/><Relationship Id="rId56" Type="http://schemas.openxmlformats.org/officeDocument/2006/relationships/slideLayout" Target="../slideLayouts/slideLayout89.xml"/><Relationship Id="rId64" Type="http://schemas.openxmlformats.org/officeDocument/2006/relationships/slideLayout" Target="../slideLayouts/slideLayout97.xml"/><Relationship Id="rId69" Type="http://schemas.openxmlformats.org/officeDocument/2006/relationships/slideLayout" Target="../slideLayouts/slideLayout102.xml"/><Relationship Id="rId8" Type="http://schemas.openxmlformats.org/officeDocument/2006/relationships/slideLayout" Target="../slideLayouts/slideLayout41.xml"/><Relationship Id="rId51" Type="http://schemas.openxmlformats.org/officeDocument/2006/relationships/slideLayout" Target="../slideLayouts/slideLayout84.xml"/><Relationship Id="rId72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33" Type="http://schemas.openxmlformats.org/officeDocument/2006/relationships/slideLayout" Target="../slideLayouts/slideLayout66.xml"/><Relationship Id="rId38" Type="http://schemas.openxmlformats.org/officeDocument/2006/relationships/slideLayout" Target="../slideLayouts/slideLayout71.xml"/><Relationship Id="rId46" Type="http://schemas.openxmlformats.org/officeDocument/2006/relationships/slideLayout" Target="../slideLayouts/slideLayout79.xml"/><Relationship Id="rId59" Type="http://schemas.openxmlformats.org/officeDocument/2006/relationships/slideLayout" Target="../slideLayouts/slideLayout92.xml"/><Relationship Id="rId67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53.xml"/><Relationship Id="rId41" Type="http://schemas.openxmlformats.org/officeDocument/2006/relationships/slideLayout" Target="../slideLayouts/slideLayout74.xml"/><Relationship Id="rId54" Type="http://schemas.openxmlformats.org/officeDocument/2006/relationships/slideLayout" Target="../slideLayouts/slideLayout87.xml"/><Relationship Id="rId62" Type="http://schemas.openxmlformats.org/officeDocument/2006/relationships/slideLayout" Target="../slideLayouts/slideLayout95.xml"/><Relationship Id="rId70" Type="http://schemas.openxmlformats.org/officeDocument/2006/relationships/slideLayout" Target="../slideLayouts/slideLayout103.xml"/><Relationship Id="rId75" Type="http://schemas.openxmlformats.org/officeDocument/2006/relationships/oleObject" Target="../embeddings/oleObject2.bin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61.xml"/><Relationship Id="rId36" Type="http://schemas.openxmlformats.org/officeDocument/2006/relationships/slideLayout" Target="../slideLayouts/slideLayout69.xml"/><Relationship Id="rId49" Type="http://schemas.openxmlformats.org/officeDocument/2006/relationships/slideLayout" Target="../slideLayouts/slideLayout82.xml"/><Relationship Id="rId57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43.xml"/><Relationship Id="rId31" Type="http://schemas.openxmlformats.org/officeDocument/2006/relationships/slideLayout" Target="../slideLayouts/slideLayout64.xml"/><Relationship Id="rId44" Type="http://schemas.openxmlformats.org/officeDocument/2006/relationships/slideLayout" Target="../slideLayouts/slideLayout77.xml"/><Relationship Id="rId52" Type="http://schemas.openxmlformats.org/officeDocument/2006/relationships/slideLayout" Target="../slideLayouts/slideLayout85.xml"/><Relationship Id="rId60" Type="http://schemas.openxmlformats.org/officeDocument/2006/relationships/slideLayout" Target="../slideLayouts/slideLayout93.xml"/><Relationship Id="rId65" Type="http://schemas.openxmlformats.org/officeDocument/2006/relationships/slideLayout" Target="../slideLayouts/slideLayout98.xml"/><Relationship Id="rId73" Type="http://schemas.openxmlformats.org/officeDocument/2006/relationships/theme" Target="../theme/theme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39" Type="http://schemas.openxmlformats.org/officeDocument/2006/relationships/slideLayout" Target="../slideLayouts/slideLayout72.xml"/><Relationship Id="rId34" Type="http://schemas.openxmlformats.org/officeDocument/2006/relationships/slideLayout" Target="../slideLayouts/slideLayout67.xml"/><Relationship Id="rId50" Type="http://schemas.openxmlformats.org/officeDocument/2006/relationships/slideLayout" Target="../slideLayouts/slideLayout83.xml"/><Relationship Id="rId55" Type="http://schemas.openxmlformats.org/officeDocument/2006/relationships/slideLayout" Target="../slideLayouts/slideLayout88.xml"/><Relationship Id="rId76" Type="http://schemas.openxmlformats.org/officeDocument/2006/relationships/image" Target="../media/image23.emf"/><Relationship Id="rId7" Type="http://schemas.openxmlformats.org/officeDocument/2006/relationships/slideLayout" Target="../slideLayouts/slideLayout40.xml"/><Relationship Id="rId71" Type="http://schemas.openxmlformats.org/officeDocument/2006/relationships/slideLayout" Target="../slideLayouts/slideLayout104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31.xml"/><Relationship Id="rId21" Type="http://schemas.openxmlformats.org/officeDocument/2006/relationships/slideLayout" Target="../slideLayouts/slideLayout126.xml"/><Relationship Id="rId42" Type="http://schemas.openxmlformats.org/officeDocument/2006/relationships/slideLayout" Target="../slideLayouts/slideLayout147.xml"/><Relationship Id="rId47" Type="http://schemas.openxmlformats.org/officeDocument/2006/relationships/slideLayout" Target="../slideLayouts/slideLayout152.xml"/><Relationship Id="rId63" Type="http://schemas.openxmlformats.org/officeDocument/2006/relationships/slideLayout" Target="../slideLayouts/slideLayout168.xml"/><Relationship Id="rId68" Type="http://schemas.openxmlformats.org/officeDocument/2006/relationships/slideLayout" Target="../slideLayouts/slideLayout173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9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32" Type="http://schemas.openxmlformats.org/officeDocument/2006/relationships/slideLayout" Target="../slideLayouts/slideLayout137.xml"/><Relationship Id="rId37" Type="http://schemas.openxmlformats.org/officeDocument/2006/relationships/slideLayout" Target="../slideLayouts/slideLayout142.xml"/><Relationship Id="rId40" Type="http://schemas.openxmlformats.org/officeDocument/2006/relationships/slideLayout" Target="../slideLayouts/slideLayout145.xml"/><Relationship Id="rId45" Type="http://schemas.openxmlformats.org/officeDocument/2006/relationships/slideLayout" Target="../slideLayouts/slideLayout150.xml"/><Relationship Id="rId53" Type="http://schemas.openxmlformats.org/officeDocument/2006/relationships/slideLayout" Target="../slideLayouts/slideLayout158.xml"/><Relationship Id="rId58" Type="http://schemas.openxmlformats.org/officeDocument/2006/relationships/slideLayout" Target="../slideLayouts/slideLayout163.xml"/><Relationship Id="rId66" Type="http://schemas.openxmlformats.org/officeDocument/2006/relationships/slideLayout" Target="../slideLayouts/slideLayout171.xml"/><Relationship Id="rId74" Type="http://schemas.openxmlformats.org/officeDocument/2006/relationships/tags" Target="../tags/tag78.xml"/><Relationship Id="rId5" Type="http://schemas.openxmlformats.org/officeDocument/2006/relationships/slideLayout" Target="../slideLayouts/slideLayout110.xml"/><Relationship Id="rId61" Type="http://schemas.openxmlformats.org/officeDocument/2006/relationships/slideLayout" Target="../slideLayouts/slideLayout166.xml"/><Relationship Id="rId1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slideLayout" Target="../slideLayouts/slideLayout132.xml"/><Relationship Id="rId30" Type="http://schemas.openxmlformats.org/officeDocument/2006/relationships/slideLayout" Target="../slideLayouts/slideLayout135.xml"/><Relationship Id="rId35" Type="http://schemas.openxmlformats.org/officeDocument/2006/relationships/slideLayout" Target="../slideLayouts/slideLayout140.xml"/><Relationship Id="rId43" Type="http://schemas.openxmlformats.org/officeDocument/2006/relationships/slideLayout" Target="../slideLayouts/slideLayout148.xml"/><Relationship Id="rId48" Type="http://schemas.openxmlformats.org/officeDocument/2006/relationships/slideLayout" Target="../slideLayouts/slideLayout153.xml"/><Relationship Id="rId56" Type="http://schemas.openxmlformats.org/officeDocument/2006/relationships/slideLayout" Target="../slideLayouts/slideLayout161.xml"/><Relationship Id="rId64" Type="http://schemas.openxmlformats.org/officeDocument/2006/relationships/slideLayout" Target="../slideLayouts/slideLayout169.xml"/><Relationship Id="rId69" Type="http://schemas.openxmlformats.org/officeDocument/2006/relationships/slideLayout" Target="../slideLayouts/slideLayout174.xml"/><Relationship Id="rId8" Type="http://schemas.openxmlformats.org/officeDocument/2006/relationships/slideLayout" Target="../slideLayouts/slideLayout113.xml"/><Relationship Id="rId51" Type="http://schemas.openxmlformats.org/officeDocument/2006/relationships/slideLayout" Target="../slideLayouts/slideLayout156.xml"/><Relationship Id="rId72" Type="http://schemas.openxmlformats.org/officeDocument/2006/relationships/slideLayout" Target="../slideLayouts/slideLayout177.xml"/><Relationship Id="rId3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33" Type="http://schemas.openxmlformats.org/officeDocument/2006/relationships/slideLayout" Target="../slideLayouts/slideLayout138.xml"/><Relationship Id="rId38" Type="http://schemas.openxmlformats.org/officeDocument/2006/relationships/slideLayout" Target="../slideLayouts/slideLayout143.xml"/><Relationship Id="rId46" Type="http://schemas.openxmlformats.org/officeDocument/2006/relationships/slideLayout" Target="../slideLayouts/slideLayout151.xml"/><Relationship Id="rId59" Type="http://schemas.openxmlformats.org/officeDocument/2006/relationships/slideLayout" Target="../slideLayouts/slideLayout164.xml"/><Relationship Id="rId67" Type="http://schemas.openxmlformats.org/officeDocument/2006/relationships/slideLayout" Target="../slideLayouts/slideLayout172.xml"/><Relationship Id="rId20" Type="http://schemas.openxmlformats.org/officeDocument/2006/relationships/slideLayout" Target="../slideLayouts/slideLayout125.xml"/><Relationship Id="rId41" Type="http://schemas.openxmlformats.org/officeDocument/2006/relationships/slideLayout" Target="../slideLayouts/slideLayout146.xml"/><Relationship Id="rId54" Type="http://schemas.openxmlformats.org/officeDocument/2006/relationships/slideLayout" Target="../slideLayouts/slideLayout159.xml"/><Relationship Id="rId62" Type="http://schemas.openxmlformats.org/officeDocument/2006/relationships/slideLayout" Target="../slideLayouts/slideLayout167.xml"/><Relationship Id="rId70" Type="http://schemas.openxmlformats.org/officeDocument/2006/relationships/slideLayout" Target="../slideLayouts/slideLayout175.xml"/><Relationship Id="rId75" Type="http://schemas.openxmlformats.org/officeDocument/2006/relationships/oleObject" Target="../embeddings/oleObject74.bin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slideLayout" Target="../slideLayouts/slideLayout133.xml"/><Relationship Id="rId36" Type="http://schemas.openxmlformats.org/officeDocument/2006/relationships/slideLayout" Target="../slideLayouts/slideLayout141.xml"/><Relationship Id="rId49" Type="http://schemas.openxmlformats.org/officeDocument/2006/relationships/slideLayout" Target="../slideLayouts/slideLayout154.xml"/><Relationship Id="rId57" Type="http://schemas.openxmlformats.org/officeDocument/2006/relationships/slideLayout" Target="../slideLayouts/slideLayout162.xml"/><Relationship Id="rId10" Type="http://schemas.openxmlformats.org/officeDocument/2006/relationships/slideLayout" Target="../slideLayouts/slideLayout115.xml"/><Relationship Id="rId31" Type="http://schemas.openxmlformats.org/officeDocument/2006/relationships/slideLayout" Target="../slideLayouts/slideLayout136.xml"/><Relationship Id="rId44" Type="http://schemas.openxmlformats.org/officeDocument/2006/relationships/slideLayout" Target="../slideLayouts/slideLayout149.xml"/><Relationship Id="rId52" Type="http://schemas.openxmlformats.org/officeDocument/2006/relationships/slideLayout" Target="../slideLayouts/slideLayout157.xml"/><Relationship Id="rId60" Type="http://schemas.openxmlformats.org/officeDocument/2006/relationships/slideLayout" Target="../slideLayouts/slideLayout165.xml"/><Relationship Id="rId65" Type="http://schemas.openxmlformats.org/officeDocument/2006/relationships/slideLayout" Target="../slideLayouts/slideLayout170.xml"/><Relationship Id="rId73" Type="http://schemas.openxmlformats.org/officeDocument/2006/relationships/theme" Target="../theme/theme4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39" Type="http://schemas.openxmlformats.org/officeDocument/2006/relationships/slideLayout" Target="../slideLayouts/slideLayout144.xml"/><Relationship Id="rId34" Type="http://schemas.openxmlformats.org/officeDocument/2006/relationships/slideLayout" Target="../slideLayouts/slideLayout139.xml"/><Relationship Id="rId50" Type="http://schemas.openxmlformats.org/officeDocument/2006/relationships/slideLayout" Target="../slideLayouts/slideLayout155.xml"/><Relationship Id="rId55" Type="http://schemas.openxmlformats.org/officeDocument/2006/relationships/slideLayout" Target="../slideLayouts/slideLayout160.xml"/><Relationship Id="rId76" Type="http://schemas.openxmlformats.org/officeDocument/2006/relationships/image" Target="../media/image23.emf"/><Relationship Id="rId7" Type="http://schemas.openxmlformats.org/officeDocument/2006/relationships/slideLayout" Target="../slideLayouts/slideLayout112.xml"/><Relationship Id="rId71" Type="http://schemas.openxmlformats.org/officeDocument/2006/relationships/slideLayout" Target="../slideLayouts/slideLayout176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7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6.xml"/><Relationship Id="rId13" Type="http://schemas.openxmlformats.org/officeDocument/2006/relationships/slideLayout" Target="../slideLayouts/slideLayout191.xml"/><Relationship Id="rId18" Type="http://schemas.openxmlformats.org/officeDocument/2006/relationships/slideLayout" Target="../slideLayouts/slideLayout196.xml"/><Relationship Id="rId3" Type="http://schemas.openxmlformats.org/officeDocument/2006/relationships/slideLayout" Target="../slideLayouts/slideLayout181.xml"/><Relationship Id="rId21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185.xml"/><Relationship Id="rId12" Type="http://schemas.openxmlformats.org/officeDocument/2006/relationships/slideLayout" Target="../slideLayouts/slideLayout190.xml"/><Relationship Id="rId17" Type="http://schemas.openxmlformats.org/officeDocument/2006/relationships/slideLayout" Target="../slideLayouts/slideLayout195.xml"/><Relationship Id="rId2" Type="http://schemas.openxmlformats.org/officeDocument/2006/relationships/slideLayout" Target="../slideLayouts/slideLayout180.xml"/><Relationship Id="rId16" Type="http://schemas.openxmlformats.org/officeDocument/2006/relationships/slideLayout" Target="../slideLayouts/slideLayout194.xml"/><Relationship Id="rId20" Type="http://schemas.openxmlformats.org/officeDocument/2006/relationships/slideLayout" Target="../slideLayouts/slideLayout198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5" Type="http://schemas.openxmlformats.org/officeDocument/2006/relationships/slideLayout" Target="../slideLayouts/slideLayout183.xml"/><Relationship Id="rId15" Type="http://schemas.openxmlformats.org/officeDocument/2006/relationships/slideLayout" Target="../slideLayouts/slideLayout193.xml"/><Relationship Id="rId10" Type="http://schemas.openxmlformats.org/officeDocument/2006/relationships/slideLayout" Target="../slideLayouts/slideLayout188.xml"/><Relationship Id="rId19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slideLayout" Target="../slideLayouts/slideLayout192.xml"/><Relationship Id="rId22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200.xml"/><Relationship Id="rId4" Type="http://schemas.openxmlformats.org/officeDocument/2006/relationships/image" Target="../media/image51.svg"/></Relationships>
</file>

<file path=ppt/slideMasters/_rels/slideMaster8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26.xml"/><Relationship Id="rId21" Type="http://schemas.openxmlformats.org/officeDocument/2006/relationships/slideLayout" Target="../slideLayouts/slideLayout221.xml"/><Relationship Id="rId42" Type="http://schemas.openxmlformats.org/officeDocument/2006/relationships/slideLayout" Target="../slideLayouts/slideLayout242.xml"/><Relationship Id="rId47" Type="http://schemas.openxmlformats.org/officeDocument/2006/relationships/slideLayout" Target="../slideLayouts/slideLayout247.xml"/><Relationship Id="rId63" Type="http://schemas.openxmlformats.org/officeDocument/2006/relationships/slideLayout" Target="../slideLayouts/slideLayout263.xml"/><Relationship Id="rId68" Type="http://schemas.openxmlformats.org/officeDocument/2006/relationships/slideLayout" Target="../slideLayouts/slideLayout268.xml"/><Relationship Id="rId16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11.xml"/><Relationship Id="rId24" Type="http://schemas.openxmlformats.org/officeDocument/2006/relationships/slideLayout" Target="../slideLayouts/slideLayout224.xml"/><Relationship Id="rId32" Type="http://schemas.openxmlformats.org/officeDocument/2006/relationships/slideLayout" Target="../slideLayouts/slideLayout232.xml"/><Relationship Id="rId37" Type="http://schemas.openxmlformats.org/officeDocument/2006/relationships/slideLayout" Target="../slideLayouts/slideLayout237.xml"/><Relationship Id="rId40" Type="http://schemas.openxmlformats.org/officeDocument/2006/relationships/slideLayout" Target="../slideLayouts/slideLayout240.xml"/><Relationship Id="rId45" Type="http://schemas.openxmlformats.org/officeDocument/2006/relationships/slideLayout" Target="../slideLayouts/slideLayout245.xml"/><Relationship Id="rId53" Type="http://schemas.openxmlformats.org/officeDocument/2006/relationships/slideLayout" Target="../slideLayouts/slideLayout253.xml"/><Relationship Id="rId58" Type="http://schemas.openxmlformats.org/officeDocument/2006/relationships/slideLayout" Target="../slideLayouts/slideLayout258.xml"/><Relationship Id="rId66" Type="http://schemas.openxmlformats.org/officeDocument/2006/relationships/slideLayout" Target="../slideLayouts/slideLayout266.xml"/><Relationship Id="rId74" Type="http://schemas.openxmlformats.org/officeDocument/2006/relationships/theme" Target="../theme/theme8.xml"/><Relationship Id="rId5" Type="http://schemas.openxmlformats.org/officeDocument/2006/relationships/slideLayout" Target="../slideLayouts/slideLayout205.xml"/><Relationship Id="rId61" Type="http://schemas.openxmlformats.org/officeDocument/2006/relationships/slideLayout" Target="../slideLayouts/slideLayout261.xml"/><Relationship Id="rId19" Type="http://schemas.openxmlformats.org/officeDocument/2006/relationships/slideLayout" Target="../slideLayouts/slideLayout219.xml"/><Relationship Id="rId14" Type="http://schemas.openxmlformats.org/officeDocument/2006/relationships/slideLayout" Target="../slideLayouts/slideLayout214.xml"/><Relationship Id="rId22" Type="http://schemas.openxmlformats.org/officeDocument/2006/relationships/slideLayout" Target="../slideLayouts/slideLayout222.xml"/><Relationship Id="rId27" Type="http://schemas.openxmlformats.org/officeDocument/2006/relationships/slideLayout" Target="../slideLayouts/slideLayout227.xml"/><Relationship Id="rId30" Type="http://schemas.openxmlformats.org/officeDocument/2006/relationships/slideLayout" Target="../slideLayouts/slideLayout230.xml"/><Relationship Id="rId35" Type="http://schemas.openxmlformats.org/officeDocument/2006/relationships/slideLayout" Target="../slideLayouts/slideLayout235.xml"/><Relationship Id="rId43" Type="http://schemas.openxmlformats.org/officeDocument/2006/relationships/slideLayout" Target="../slideLayouts/slideLayout243.xml"/><Relationship Id="rId48" Type="http://schemas.openxmlformats.org/officeDocument/2006/relationships/slideLayout" Target="../slideLayouts/slideLayout248.xml"/><Relationship Id="rId56" Type="http://schemas.openxmlformats.org/officeDocument/2006/relationships/slideLayout" Target="../slideLayouts/slideLayout256.xml"/><Relationship Id="rId64" Type="http://schemas.openxmlformats.org/officeDocument/2006/relationships/slideLayout" Target="../slideLayouts/slideLayout264.xml"/><Relationship Id="rId69" Type="http://schemas.openxmlformats.org/officeDocument/2006/relationships/slideLayout" Target="../slideLayouts/slideLayout269.xml"/><Relationship Id="rId77" Type="http://schemas.openxmlformats.org/officeDocument/2006/relationships/image" Target="../media/image23.emf"/><Relationship Id="rId8" Type="http://schemas.openxmlformats.org/officeDocument/2006/relationships/slideLayout" Target="../slideLayouts/slideLayout208.xml"/><Relationship Id="rId51" Type="http://schemas.openxmlformats.org/officeDocument/2006/relationships/slideLayout" Target="../slideLayouts/slideLayout251.xml"/><Relationship Id="rId72" Type="http://schemas.openxmlformats.org/officeDocument/2006/relationships/slideLayout" Target="../slideLayouts/slideLayout272.xml"/><Relationship Id="rId3" Type="http://schemas.openxmlformats.org/officeDocument/2006/relationships/slideLayout" Target="../slideLayouts/slideLayout203.xml"/><Relationship Id="rId12" Type="http://schemas.openxmlformats.org/officeDocument/2006/relationships/slideLayout" Target="../slideLayouts/slideLayout212.xml"/><Relationship Id="rId17" Type="http://schemas.openxmlformats.org/officeDocument/2006/relationships/slideLayout" Target="../slideLayouts/slideLayout217.xml"/><Relationship Id="rId25" Type="http://schemas.openxmlformats.org/officeDocument/2006/relationships/slideLayout" Target="../slideLayouts/slideLayout225.xml"/><Relationship Id="rId33" Type="http://schemas.openxmlformats.org/officeDocument/2006/relationships/slideLayout" Target="../slideLayouts/slideLayout233.xml"/><Relationship Id="rId38" Type="http://schemas.openxmlformats.org/officeDocument/2006/relationships/slideLayout" Target="../slideLayouts/slideLayout238.xml"/><Relationship Id="rId46" Type="http://schemas.openxmlformats.org/officeDocument/2006/relationships/slideLayout" Target="../slideLayouts/slideLayout246.xml"/><Relationship Id="rId59" Type="http://schemas.openxmlformats.org/officeDocument/2006/relationships/slideLayout" Target="../slideLayouts/slideLayout259.xml"/><Relationship Id="rId67" Type="http://schemas.openxmlformats.org/officeDocument/2006/relationships/slideLayout" Target="../slideLayouts/slideLayout267.xml"/><Relationship Id="rId20" Type="http://schemas.openxmlformats.org/officeDocument/2006/relationships/slideLayout" Target="../slideLayouts/slideLayout220.xml"/><Relationship Id="rId41" Type="http://schemas.openxmlformats.org/officeDocument/2006/relationships/slideLayout" Target="../slideLayouts/slideLayout241.xml"/><Relationship Id="rId54" Type="http://schemas.openxmlformats.org/officeDocument/2006/relationships/slideLayout" Target="../slideLayouts/slideLayout254.xml"/><Relationship Id="rId62" Type="http://schemas.openxmlformats.org/officeDocument/2006/relationships/slideLayout" Target="../slideLayouts/slideLayout262.xml"/><Relationship Id="rId70" Type="http://schemas.openxmlformats.org/officeDocument/2006/relationships/slideLayout" Target="../slideLayouts/slideLayout270.xml"/><Relationship Id="rId75" Type="http://schemas.openxmlformats.org/officeDocument/2006/relationships/tags" Target="../tags/tag154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5" Type="http://schemas.openxmlformats.org/officeDocument/2006/relationships/slideLayout" Target="../slideLayouts/slideLayout215.xml"/><Relationship Id="rId23" Type="http://schemas.openxmlformats.org/officeDocument/2006/relationships/slideLayout" Target="../slideLayouts/slideLayout223.xml"/><Relationship Id="rId28" Type="http://schemas.openxmlformats.org/officeDocument/2006/relationships/slideLayout" Target="../slideLayouts/slideLayout228.xml"/><Relationship Id="rId36" Type="http://schemas.openxmlformats.org/officeDocument/2006/relationships/slideLayout" Target="../slideLayouts/slideLayout236.xml"/><Relationship Id="rId49" Type="http://schemas.openxmlformats.org/officeDocument/2006/relationships/slideLayout" Target="../slideLayouts/slideLayout249.xml"/><Relationship Id="rId57" Type="http://schemas.openxmlformats.org/officeDocument/2006/relationships/slideLayout" Target="../slideLayouts/slideLayout257.xml"/><Relationship Id="rId10" Type="http://schemas.openxmlformats.org/officeDocument/2006/relationships/slideLayout" Target="../slideLayouts/slideLayout210.xml"/><Relationship Id="rId31" Type="http://schemas.openxmlformats.org/officeDocument/2006/relationships/slideLayout" Target="../slideLayouts/slideLayout231.xml"/><Relationship Id="rId44" Type="http://schemas.openxmlformats.org/officeDocument/2006/relationships/slideLayout" Target="../slideLayouts/slideLayout244.xml"/><Relationship Id="rId52" Type="http://schemas.openxmlformats.org/officeDocument/2006/relationships/slideLayout" Target="../slideLayouts/slideLayout252.xml"/><Relationship Id="rId60" Type="http://schemas.openxmlformats.org/officeDocument/2006/relationships/slideLayout" Target="../slideLayouts/slideLayout260.xml"/><Relationship Id="rId65" Type="http://schemas.openxmlformats.org/officeDocument/2006/relationships/slideLayout" Target="../slideLayouts/slideLayout265.xml"/><Relationship Id="rId73" Type="http://schemas.openxmlformats.org/officeDocument/2006/relationships/slideLayout" Target="../slideLayouts/slideLayout273.xml"/><Relationship Id="rId4" Type="http://schemas.openxmlformats.org/officeDocument/2006/relationships/slideLayout" Target="../slideLayouts/slideLayout204.xml"/><Relationship Id="rId9" Type="http://schemas.openxmlformats.org/officeDocument/2006/relationships/slideLayout" Target="../slideLayouts/slideLayout209.xml"/><Relationship Id="rId13" Type="http://schemas.openxmlformats.org/officeDocument/2006/relationships/slideLayout" Target="../slideLayouts/slideLayout213.xml"/><Relationship Id="rId18" Type="http://schemas.openxmlformats.org/officeDocument/2006/relationships/slideLayout" Target="../slideLayouts/slideLayout218.xml"/><Relationship Id="rId39" Type="http://schemas.openxmlformats.org/officeDocument/2006/relationships/slideLayout" Target="../slideLayouts/slideLayout239.xml"/><Relationship Id="rId34" Type="http://schemas.openxmlformats.org/officeDocument/2006/relationships/slideLayout" Target="../slideLayouts/slideLayout234.xml"/><Relationship Id="rId50" Type="http://schemas.openxmlformats.org/officeDocument/2006/relationships/slideLayout" Target="../slideLayouts/slideLayout250.xml"/><Relationship Id="rId55" Type="http://schemas.openxmlformats.org/officeDocument/2006/relationships/slideLayout" Target="../slideLayouts/slideLayout255.xml"/><Relationship Id="rId76" Type="http://schemas.openxmlformats.org/officeDocument/2006/relationships/oleObject" Target="../embeddings/oleObject146.bin"/><Relationship Id="rId7" Type="http://schemas.openxmlformats.org/officeDocument/2006/relationships/slideLayout" Target="../slideLayouts/slideLayout207.xml"/><Relationship Id="rId71" Type="http://schemas.openxmlformats.org/officeDocument/2006/relationships/slideLayout" Target="../slideLayouts/slideLayout271.xml"/><Relationship Id="rId2" Type="http://schemas.openxmlformats.org/officeDocument/2006/relationships/slideLayout" Target="../slideLayouts/slideLayout202.xml"/><Relationship Id="rId29" Type="http://schemas.openxmlformats.org/officeDocument/2006/relationships/slideLayout" Target="../slideLayouts/slideLayout2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34F4F23-1F6B-1347-A780-979212AE07CC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26923"/>
            <a:ext cx="12192000" cy="541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084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516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5269" r:id="rId18"/>
  </p:sldLayoutIdLst>
  <p:hf hdr="0"/>
  <p:txStyles>
    <p:titleStyle>
      <a:lvl1pPr algn="l" defTabSz="1219170" rtl="0" eaLnBrk="1" latinLnBrk="0" hangingPunct="1">
        <a:spcBef>
          <a:spcPct val="0"/>
        </a:spcBef>
        <a:buNone/>
        <a:defRPr lang="en-US" sz="3200" b="1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lang="en-US" sz="32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lang="en-US" sz="2667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lang="en-US" sz="24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34F4F23-1F6B-1347-A780-979212AE07CC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26923"/>
            <a:ext cx="12192000" cy="541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03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</p:sldLayoutIdLst>
  <p:hf hdr="0"/>
  <p:txStyles>
    <p:titleStyle>
      <a:lvl1pPr algn="l" defTabSz="1219170" rtl="0" eaLnBrk="1" latinLnBrk="0" hangingPunct="1">
        <a:spcBef>
          <a:spcPct val="0"/>
        </a:spcBef>
        <a:buNone/>
        <a:defRPr lang="en-US" sz="3200" b="1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lang="en-US" sz="32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lang="en-US" sz="2667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lang="en-US" sz="24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4"/>
            </p:custDataLst>
            <p:extLst>
              <p:ext uri="{D42A27DB-BD31-4B8C-83A1-F6EECF244321}">
                <p14:modId xmlns:p14="http://schemas.microsoft.com/office/powerpoint/2010/main" val="1508933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5" imgW="270" imgH="270" progId="TCLayout.ActiveDocument.1">
                  <p:embed/>
                </p:oleObj>
              </mc:Choice>
              <mc:Fallback>
                <p:oleObj name="think-cell Slide" r:id="rId7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8650" y="123929"/>
            <a:ext cx="10934700" cy="509541"/>
          </a:xfrm>
          <a:prstGeom prst="rect">
            <a:avLst/>
          </a:prstGeom>
        </p:spPr>
        <p:txBody>
          <a:bodyPr vert="horz" wrap="square" lIns="0" tIns="18288" rIns="0" bIns="0" rtlCol="0" anchor="t" anchorCtr="0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043238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0" r:id="rId1"/>
    <p:sldLayoutId id="2147484831" r:id="rId2"/>
    <p:sldLayoutId id="2147484832" r:id="rId3"/>
    <p:sldLayoutId id="2147484833" r:id="rId4"/>
    <p:sldLayoutId id="2147484834" r:id="rId5"/>
    <p:sldLayoutId id="2147484835" r:id="rId6"/>
    <p:sldLayoutId id="2147484836" r:id="rId7"/>
    <p:sldLayoutId id="2147484837" r:id="rId8"/>
    <p:sldLayoutId id="2147484838" r:id="rId9"/>
    <p:sldLayoutId id="2147484839" r:id="rId10"/>
    <p:sldLayoutId id="2147484840" r:id="rId11"/>
    <p:sldLayoutId id="2147484841" r:id="rId12"/>
    <p:sldLayoutId id="2147484842" r:id="rId13"/>
    <p:sldLayoutId id="2147484843" r:id="rId14"/>
    <p:sldLayoutId id="2147484844" r:id="rId15"/>
    <p:sldLayoutId id="2147484845" r:id="rId16"/>
    <p:sldLayoutId id="2147484846" r:id="rId17"/>
    <p:sldLayoutId id="2147484847" r:id="rId18"/>
    <p:sldLayoutId id="2147484848" r:id="rId19"/>
    <p:sldLayoutId id="2147484849" r:id="rId20"/>
    <p:sldLayoutId id="2147484850" r:id="rId21"/>
    <p:sldLayoutId id="2147484851" r:id="rId22"/>
    <p:sldLayoutId id="2147484852" r:id="rId23"/>
    <p:sldLayoutId id="2147484853" r:id="rId24"/>
    <p:sldLayoutId id="2147484854" r:id="rId25"/>
    <p:sldLayoutId id="2147484855" r:id="rId26"/>
    <p:sldLayoutId id="2147484856" r:id="rId27"/>
    <p:sldLayoutId id="2147484857" r:id="rId28"/>
    <p:sldLayoutId id="2147484858" r:id="rId29"/>
    <p:sldLayoutId id="2147484859" r:id="rId30"/>
    <p:sldLayoutId id="2147484860" r:id="rId31"/>
    <p:sldLayoutId id="2147484861" r:id="rId32"/>
    <p:sldLayoutId id="2147484862" r:id="rId33"/>
    <p:sldLayoutId id="2147484863" r:id="rId34"/>
    <p:sldLayoutId id="2147484864" r:id="rId35"/>
    <p:sldLayoutId id="2147484865" r:id="rId36"/>
    <p:sldLayoutId id="2147484866" r:id="rId37"/>
    <p:sldLayoutId id="2147484867" r:id="rId38"/>
    <p:sldLayoutId id="2147484868" r:id="rId39"/>
    <p:sldLayoutId id="2147484869" r:id="rId40"/>
    <p:sldLayoutId id="2147484870" r:id="rId41"/>
    <p:sldLayoutId id="2147484871" r:id="rId42"/>
    <p:sldLayoutId id="2147484872" r:id="rId43"/>
    <p:sldLayoutId id="2147484873" r:id="rId44"/>
    <p:sldLayoutId id="2147484874" r:id="rId45"/>
    <p:sldLayoutId id="2147484875" r:id="rId46"/>
    <p:sldLayoutId id="2147484876" r:id="rId47"/>
    <p:sldLayoutId id="2147484877" r:id="rId48"/>
    <p:sldLayoutId id="2147484878" r:id="rId49"/>
    <p:sldLayoutId id="2147484879" r:id="rId50"/>
    <p:sldLayoutId id="2147484880" r:id="rId51"/>
    <p:sldLayoutId id="2147484881" r:id="rId52"/>
    <p:sldLayoutId id="2147484882" r:id="rId53"/>
    <p:sldLayoutId id="2147484883" r:id="rId54"/>
    <p:sldLayoutId id="2147484884" r:id="rId55"/>
    <p:sldLayoutId id="2147484885" r:id="rId56"/>
    <p:sldLayoutId id="2147484886" r:id="rId57"/>
    <p:sldLayoutId id="2147484887" r:id="rId58"/>
    <p:sldLayoutId id="2147484888" r:id="rId59"/>
    <p:sldLayoutId id="2147484889" r:id="rId60"/>
    <p:sldLayoutId id="2147484890" r:id="rId61"/>
    <p:sldLayoutId id="2147484891" r:id="rId62"/>
    <p:sldLayoutId id="2147484892" r:id="rId63"/>
    <p:sldLayoutId id="2147484893" r:id="rId64"/>
    <p:sldLayoutId id="2147484894" r:id="rId65"/>
    <p:sldLayoutId id="2147484895" r:id="rId66"/>
    <p:sldLayoutId id="2147484896" r:id="rId67"/>
    <p:sldLayoutId id="2147484897" r:id="rId68"/>
    <p:sldLayoutId id="2147484898" r:id="rId69"/>
    <p:sldLayoutId id="2147484899" r:id="rId70"/>
    <p:sldLayoutId id="2147484900" r:id="rId71"/>
    <p:sldLayoutId id="2147484901" r:id="rId7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cap="small" baseline="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42536C"/>
        </a:buClr>
        <a:buFont typeface="Arial" panose="020B0604020202020204" pitchFamily="34" charset="0"/>
        <a:buChar char="​"/>
        <a:defRPr lang="en-US" sz="1200" kern="1200">
          <a:solidFill>
            <a:srgbClr val="404040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42536C"/>
        </a:buClr>
        <a:buFont typeface="Arial" panose="020B0604020202020204" pitchFamily="34" charset="0"/>
        <a:buChar char="•"/>
        <a:defRPr lang="en-US" sz="1200" kern="1200">
          <a:solidFill>
            <a:srgbClr val="404040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42536C"/>
        </a:buClr>
        <a:buFont typeface="Trebuchet MS" panose="020B0603020202020204" pitchFamily="34" charset="0"/>
        <a:buChar char="–"/>
        <a:defRPr lang="en-US" sz="1200" kern="1200">
          <a:solidFill>
            <a:srgbClr val="404040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42536C"/>
        </a:buClr>
        <a:buFont typeface="Arial" panose="020B0604020202020204" pitchFamily="34" charset="0"/>
        <a:buChar char="​"/>
        <a:defRPr lang="en-US" sz="1600" kern="1200">
          <a:solidFill>
            <a:srgbClr val="42536C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42536C"/>
        </a:buClr>
        <a:buFont typeface="Arial" panose="020B0604020202020204" pitchFamily="34" charset="0"/>
        <a:buChar char="​"/>
        <a:defRPr lang="en-US" sz="1600" b="1" kern="1200" smtClean="0">
          <a:solidFill>
            <a:srgbClr val="404040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42536C"/>
        </a:buClr>
        <a:buFont typeface="Arial" panose="020B0604020202020204" pitchFamily="34" charset="0"/>
        <a:buChar char="•"/>
        <a:defRPr lang="en-US" sz="1600" kern="1200" smtClean="0">
          <a:solidFill>
            <a:srgbClr val="404040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42536C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404040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42536C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42536C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42536C"/>
        </a:buClr>
        <a:buFont typeface="Arial" panose="020B0604020202020204" pitchFamily="34" charset="0"/>
        <a:buChar char="​"/>
        <a:defRPr lang="en-US" sz="2400" kern="1200" baseline="0" dirty="0">
          <a:solidFill>
            <a:srgbClr val="42536C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4"/>
            </p:custDataLst>
            <p:extLst>
              <p:ext uri="{D42A27DB-BD31-4B8C-83A1-F6EECF244321}">
                <p14:modId xmlns:p14="http://schemas.microsoft.com/office/powerpoint/2010/main" val="3401261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5" imgW="270" imgH="270" progId="TCLayout.ActiveDocument.1">
                  <p:embed/>
                </p:oleObj>
              </mc:Choice>
              <mc:Fallback>
                <p:oleObj name="think-cell Slide" r:id="rId7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8650" y="123929"/>
            <a:ext cx="10934700" cy="509541"/>
          </a:xfrm>
          <a:prstGeom prst="rect">
            <a:avLst/>
          </a:prstGeom>
        </p:spPr>
        <p:txBody>
          <a:bodyPr vert="horz" wrap="square" lIns="0" tIns="18288" rIns="0" bIns="0" rtlCol="0" anchor="t" anchorCtr="0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3" name="MSIPCMContentMarking" descr="{&quot;HashCode&quot;:-522956323,&quot;Placement&quot;:&quot;Footer&quot;,&quot;Top&quot;:519.343,&quot;Left&quot;:434.047333,&quot;SlideWidth&quot;:960,&quot;SlideHeight&quot;:540}">
            <a:extLst>
              <a:ext uri="{FF2B5EF4-FFF2-40B4-BE49-F238E27FC236}">
                <a16:creationId xmlns:a16="http://schemas.microsoft.com/office/drawing/2014/main" id="{7509D93C-F4AB-45E2-9E27-C387F79BB66F}"/>
              </a:ext>
            </a:extLst>
          </p:cNvPr>
          <p:cNvSpPr txBox="1"/>
          <p:nvPr userDrawn="1"/>
        </p:nvSpPr>
        <p:spPr>
          <a:xfrm>
            <a:off x="5512401" y="6595656"/>
            <a:ext cx="1167199" cy="26234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General Business</a:t>
            </a:r>
          </a:p>
        </p:txBody>
      </p:sp>
    </p:spTree>
    <p:extLst>
      <p:ext uri="{BB962C8B-B14F-4D97-AF65-F5344CB8AC3E}">
        <p14:creationId xmlns:p14="http://schemas.microsoft.com/office/powerpoint/2010/main" val="4238148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6" r:id="rId1"/>
    <p:sldLayoutId id="2147484997" r:id="rId2"/>
    <p:sldLayoutId id="2147484998" r:id="rId3"/>
    <p:sldLayoutId id="2147484999" r:id="rId4"/>
    <p:sldLayoutId id="2147485000" r:id="rId5"/>
    <p:sldLayoutId id="2147485001" r:id="rId6"/>
    <p:sldLayoutId id="2147485002" r:id="rId7"/>
    <p:sldLayoutId id="2147485003" r:id="rId8"/>
    <p:sldLayoutId id="2147485004" r:id="rId9"/>
    <p:sldLayoutId id="2147485005" r:id="rId10"/>
    <p:sldLayoutId id="2147485006" r:id="rId11"/>
    <p:sldLayoutId id="2147485007" r:id="rId12"/>
    <p:sldLayoutId id="2147485008" r:id="rId13"/>
    <p:sldLayoutId id="2147485009" r:id="rId14"/>
    <p:sldLayoutId id="2147485010" r:id="rId15"/>
    <p:sldLayoutId id="2147485011" r:id="rId16"/>
    <p:sldLayoutId id="2147485012" r:id="rId17"/>
    <p:sldLayoutId id="2147485013" r:id="rId18"/>
    <p:sldLayoutId id="2147485014" r:id="rId19"/>
    <p:sldLayoutId id="2147485015" r:id="rId20"/>
    <p:sldLayoutId id="2147485016" r:id="rId21"/>
    <p:sldLayoutId id="2147485017" r:id="rId22"/>
    <p:sldLayoutId id="2147485018" r:id="rId23"/>
    <p:sldLayoutId id="2147485019" r:id="rId24"/>
    <p:sldLayoutId id="2147485020" r:id="rId25"/>
    <p:sldLayoutId id="2147485021" r:id="rId26"/>
    <p:sldLayoutId id="2147485022" r:id="rId27"/>
    <p:sldLayoutId id="2147485023" r:id="rId28"/>
    <p:sldLayoutId id="2147485024" r:id="rId29"/>
    <p:sldLayoutId id="2147485025" r:id="rId30"/>
    <p:sldLayoutId id="2147485026" r:id="rId31"/>
    <p:sldLayoutId id="2147485027" r:id="rId32"/>
    <p:sldLayoutId id="2147485028" r:id="rId33"/>
    <p:sldLayoutId id="2147485029" r:id="rId34"/>
    <p:sldLayoutId id="2147485030" r:id="rId35"/>
    <p:sldLayoutId id="2147485031" r:id="rId36"/>
    <p:sldLayoutId id="2147485032" r:id="rId37"/>
    <p:sldLayoutId id="2147485033" r:id="rId38"/>
    <p:sldLayoutId id="2147485034" r:id="rId39"/>
    <p:sldLayoutId id="2147485035" r:id="rId40"/>
    <p:sldLayoutId id="2147485036" r:id="rId41"/>
    <p:sldLayoutId id="2147485037" r:id="rId42"/>
    <p:sldLayoutId id="2147485038" r:id="rId43"/>
    <p:sldLayoutId id="2147485039" r:id="rId44"/>
    <p:sldLayoutId id="2147485040" r:id="rId45"/>
    <p:sldLayoutId id="2147485041" r:id="rId46"/>
    <p:sldLayoutId id="2147485042" r:id="rId47"/>
    <p:sldLayoutId id="2147485043" r:id="rId48"/>
    <p:sldLayoutId id="2147485044" r:id="rId49"/>
    <p:sldLayoutId id="2147485045" r:id="rId50"/>
    <p:sldLayoutId id="2147485046" r:id="rId51"/>
    <p:sldLayoutId id="2147485047" r:id="rId52"/>
    <p:sldLayoutId id="2147485048" r:id="rId53"/>
    <p:sldLayoutId id="2147485049" r:id="rId54"/>
    <p:sldLayoutId id="2147485050" r:id="rId55"/>
    <p:sldLayoutId id="2147485051" r:id="rId56"/>
    <p:sldLayoutId id="2147485052" r:id="rId57"/>
    <p:sldLayoutId id="2147485053" r:id="rId58"/>
    <p:sldLayoutId id="2147485054" r:id="rId59"/>
    <p:sldLayoutId id="2147485055" r:id="rId60"/>
    <p:sldLayoutId id="2147485056" r:id="rId61"/>
    <p:sldLayoutId id="2147485057" r:id="rId62"/>
    <p:sldLayoutId id="2147485058" r:id="rId63"/>
    <p:sldLayoutId id="2147485059" r:id="rId64"/>
    <p:sldLayoutId id="2147485060" r:id="rId65"/>
    <p:sldLayoutId id="2147485061" r:id="rId66"/>
    <p:sldLayoutId id="2147485062" r:id="rId67"/>
    <p:sldLayoutId id="2147485063" r:id="rId68"/>
    <p:sldLayoutId id="2147485064" r:id="rId69"/>
    <p:sldLayoutId id="2147485065" r:id="rId70"/>
    <p:sldLayoutId id="2147485066" r:id="rId71"/>
    <p:sldLayoutId id="2147485067" r:id="rId7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cap="small" baseline="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42536C"/>
        </a:buClr>
        <a:buFont typeface="Arial" panose="020B0604020202020204" pitchFamily="34" charset="0"/>
        <a:buChar char="​"/>
        <a:defRPr lang="en-US" sz="1200" kern="1200">
          <a:solidFill>
            <a:srgbClr val="404040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42536C"/>
        </a:buClr>
        <a:buFont typeface="Arial" panose="020B0604020202020204" pitchFamily="34" charset="0"/>
        <a:buChar char="•"/>
        <a:defRPr lang="en-US" sz="1200" kern="1200">
          <a:solidFill>
            <a:srgbClr val="404040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42536C"/>
        </a:buClr>
        <a:buFont typeface="Trebuchet MS" panose="020B0603020202020204" pitchFamily="34" charset="0"/>
        <a:buChar char="–"/>
        <a:defRPr lang="en-US" sz="1200" kern="1200">
          <a:solidFill>
            <a:srgbClr val="404040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42536C"/>
        </a:buClr>
        <a:buFont typeface="Arial" panose="020B0604020202020204" pitchFamily="34" charset="0"/>
        <a:buChar char="​"/>
        <a:defRPr lang="en-US" sz="1600" kern="1200">
          <a:solidFill>
            <a:srgbClr val="42536C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42536C"/>
        </a:buClr>
        <a:buFont typeface="Arial" panose="020B0604020202020204" pitchFamily="34" charset="0"/>
        <a:buChar char="​"/>
        <a:defRPr lang="en-US" sz="1600" b="1" kern="1200" smtClean="0">
          <a:solidFill>
            <a:srgbClr val="404040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42536C"/>
        </a:buClr>
        <a:buFont typeface="Arial" panose="020B0604020202020204" pitchFamily="34" charset="0"/>
        <a:buChar char="•"/>
        <a:defRPr lang="en-US" sz="1600" kern="1200" smtClean="0">
          <a:solidFill>
            <a:srgbClr val="404040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42536C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404040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42536C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42536C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42536C"/>
        </a:buClr>
        <a:buFont typeface="Arial" panose="020B0604020202020204" pitchFamily="34" charset="0"/>
        <a:buChar char="​"/>
        <a:defRPr lang="en-US" sz="2400" kern="1200" baseline="0" dirty="0">
          <a:solidFill>
            <a:srgbClr val="42536C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41F961B-BE30-1AD9-D79E-BDD59F3611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A52D57-6E58-478F-0CB6-FF835F16C1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CD4863-E3E6-F1E8-EC56-D7B514C33A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273FDD-0BA0-41E2-B638-0874E93FE76F}" type="datetimeFigureOut">
              <a:rPr lang="en-US" smtClean="0"/>
              <a:t>23-Jan-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BB205B-FE4C-A9B6-E925-3B30D38EA7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88A170-AAC7-5CB2-08BB-99DCE396BA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A8AEEB-97A7-43DA-9DC9-9DFC493763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480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39DCC59-021F-DD4E-864F-43FA20E4E0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98028" y="8495583"/>
            <a:ext cx="4656667" cy="3657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OW CONFIDENTIAL - Do not share without permission</a:t>
            </a:r>
          </a:p>
          <a:p>
            <a:r>
              <a:rPr lang="en-US" dirty="0"/>
              <a:t>                                           Presentation title goes her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8775982-9D05-A948-B261-CDBD2CAEF6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605728" y="8495583"/>
            <a:ext cx="832733" cy="3657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6">
            <a:extLst>
              <a:ext uri="{FF2B5EF4-FFF2-40B4-BE49-F238E27FC236}">
                <a16:creationId xmlns:a16="http://schemas.microsoft.com/office/drawing/2014/main" id="{39710755-75B4-F44F-AA07-13AB5E7F3A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860600" y="8495583"/>
            <a:ext cx="1839225" cy="3657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DEA98E5-446F-B248-BA2D-87EC9552D6A2}" type="datetime4">
              <a:rPr lang="en-US" smtClean="0"/>
              <a:t>January 23, 2024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4583425-A027-5CE1-98E5-9B6D21196F6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510700" y="6654801"/>
            <a:ext cx="1208616" cy="205121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333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neral Business</a:t>
            </a:r>
          </a:p>
        </p:txBody>
      </p:sp>
    </p:spTree>
    <p:extLst>
      <p:ext uri="{BB962C8B-B14F-4D97-AF65-F5344CB8AC3E}">
        <p14:creationId xmlns:p14="http://schemas.microsoft.com/office/powerpoint/2010/main" val="4024712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1" r:id="rId1"/>
    <p:sldLayoutId id="2147485172" r:id="rId2"/>
    <p:sldLayoutId id="2147485173" r:id="rId3"/>
    <p:sldLayoutId id="2147485174" r:id="rId4"/>
    <p:sldLayoutId id="2147485175" r:id="rId5"/>
    <p:sldLayoutId id="2147485176" r:id="rId6"/>
    <p:sldLayoutId id="2147485177" r:id="rId7"/>
    <p:sldLayoutId id="2147485178" r:id="rId8"/>
    <p:sldLayoutId id="2147485179" r:id="rId9"/>
    <p:sldLayoutId id="2147485180" r:id="rId10"/>
    <p:sldLayoutId id="2147485181" r:id="rId11"/>
    <p:sldLayoutId id="2147485182" r:id="rId12"/>
    <p:sldLayoutId id="2147485183" r:id="rId13"/>
    <p:sldLayoutId id="2147485184" r:id="rId14"/>
    <p:sldLayoutId id="2147485185" r:id="rId15"/>
    <p:sldLayoutId id="2147485186" r:id="rId16"/>
    <p:sldLayoutId id="2147485187" r:id="rId17"/>
    <p:sldLayoutId id="2147485188" r:id="rId18"/>
    <p:sldLayoutId id="2147485189" r:id="rId19"/>
    <p:sldLayoutId id="2147485190" r:id="rId20"/>
    <p:sldLayoutId id="2147485191" r:id="rId21"/>
  </p:sldLayoutIdLst>
  <p:hf hdr="0"/>
  <p:txStyles>
    <p:titleStyle>
      <a:lvl1pPr algn="l" defTabSz="1219170" rtl="0" eaLnBrk="1" latinLnBrk="0" hangingPunct="1">
        <a:spcBef>
          <a:spcPct val="0"/>
        </a:spcBef>
        <a:buNone/>
        <a:defRPr lang="en-US" sz="3200" b="1" kern="1200" dirty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ct val="20000"/>
        </a:spcBef>
        <a:buFont typeface="Arial" pitchFamily="34" charset="0"/>
        <a:buNone/>
        <a:defRPr lang="en-US" sz="2667" b="1" kern="1200" dirty="0" smtClean="0">
          <a:solidFill>
            <a:schemeClr val="bg2"/>
          </a:solidFill>
          <a:latin typeface="+mn-lt"/>
          <a:ea typeface="+mn-ea"/>
          <a:cs typeface="+mn-cs"/>
        </a:defRPr>
      </a:lvl1pPr>
      <a:lvl2pPr marL="12700" indent="0" algn="l" defTabSz="1219170" rtl="0" eaLnBrk="1" latinLnBrk="0" hangingPunct="1">
        <a:spcBef>
          <a:spcPct val="20000"/>
        </a:spcBef>
        <a:buFont typeface="Arial" pitchFamily="34" charset="0"/>
        <a:buNone/>
        <a:tabLst/>
        <a:defRPr lang="en-US" sz="24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15376" indent="-302676" algn="l" defTabSz="1219170" rtl="0" eaLnBrk="1" latinLnBrk="0" hangingPunct="1">
        <a:spcBef>
          <a:spcPct val="20000"/>
        </a:spcBef>
        <a:buFont typeface="Wingdings" pitchFamily="2" charset="2"/>
        <a:buChar char="§"/>
        <a:tabLst/>
        <a:defRPr lang="en-US" sz="1867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770447" indent="-385224" algn="l" defTabSz="1219170" rtl="0" eaLnBrk="1" latinLnBrk="0" hangingPunct="1">
        <a:spcBef>
          <a:spcPct val="20000"/>
        </a:spcBef>
        <a:buFont typeface="Courier New" panose="02070309020205020404" pitchFamily="49" charset="0"/>
        <a:buChar char="o"/>
        <a:tabLst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073124" indent="-302676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tabLst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1375799" indent="-302676" algn="l" defTabSz="1219170" rtl="0" eaLnBrk="1" latinLnBrk="0" hangingPunct="1">
        <a:spcBef>
          <a:spcPct val="20000"/>
        </a:spcBef>
        <a:buFont typeface="System Font Regular"/>
        <a:buChar char="–"/>
        <a:tabLst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44198AA-996D-DB45-B8DC-B80DA31E409D}"/>
              </a:ext>
            </a:extLst>
          </p:cNvPr>
          <p:cNvSpPr/>
          <p:nvPr userDrawn="1"/>
        </p:nvSpPr>
        <p:spPr>
          <a:xfrm>
            <a:off x="-2" y="6498167"/>
            <a:ext cx="10951635" cy="3706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3D069B0-5A77-4B44-A49C-BA83279003C6}"/>
              </a:ext>
            </a:extLst>
          </p:cNvPr>
          <p:cNvSpPr/>
          <p:nvPr userDrawn="1"/>
        </p:nvSpPr>
        <p:spPr>
          <a:xfrm flipH="1">
            <a:off x="10985499" y="6498167"/>
            <a:ext cx="1206500" cy="37062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DB8CBF9-B471-5F4B-B749-32797CEBBB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34025" y="6264910"/>
            <a:ext cx="1123951" cy="4495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1CC81A1-AF95-F2A3-1217-E120FC97FE1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657025" y="6642100"/>
            <a:ext cx="90646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neral Business</a:t>
            </a:r>
          </a:p>
        </p:txBody>
      </p:sp>
    </p:spTree>
    <p:extLst>
      <p:ext uri="{BB962C8B-B14F-4D97-AF65-F5344CB8AC3E}">
        <p14:creationId xmlns:p14="http://schemas.microsoft.com/office/powerpoint/2010/main" val="3817775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4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1219170" rtl="0" eaLnBrk="1" latinLnBrk="0" hangingPunct="1">
        <a:spcBef>
          <a:spcPct val="0"/>
        </a:spcBef>
        <a:buNone/>
        <a:defRPr lang="en-US" sz="3200" b="1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lang="en-US" sz="32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lang="en-US" sz="2667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lang="en-US" sz="24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5"/>
            </p:custDataLst>
            <p:extLst>
              <p:ext uri="{D42A27DB-BD31-4B8C-83A1-F6EECF244321}">
                <p14:modId xmlns:p14="http://schemas.microsoft.com/office/powerpoint/2010/main" val="1508933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6" imgW="270" imgH="270" progId="TCLayout.ActiveDocument.1">
                  <p:embed/>
                </p:oleObj>
              </mc:Choice>
              <mc:Fallback>
                <p:oleObj name="think-cell Slide" r:id="rId7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8650" y="123929"/>
            <a:ext cx="10934700" cy="509541"/>
          </a:xfrm>
          <a:prstGeom prst="rect">
            <a:avLst/>
          </a:prstGeom>
        </p:spPr>
        <p:txBody>
          <a:bodyPr vert="horz" wrap="square" lIns="0" tIns="18288" rIns="0" bIns="0" rtlCol="0" anchor="t" anchorCtr="0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464532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6" r:id="rId1"/>
    <p:sldLayoutId id="2147485197" r:id="rId2"/>
    <p:sldLayoutId id="2147485198" r:id="rId3"/>
    <p:sldLayoutId id="2147485199" r:id="rId4"/>
    <p:sldLayoutId id="2147485200" r:id="rId5"/>
    <p:sldLayoutId id="2147485201" r:id="rId6"/>
    <p:sldLayoutId id="2147485202" r:id="rId7"/>
    <p:sldLayoutId id="2147485203" r:id="rId8"/>
    <p:sldLayoutId id="2147485204" r:id="rId9"/>
    <p:sldLayoutId id="2147485205" r:id="rId10"/>
    <p:sldLayoutId id="2147485206" r:id="rId11"/>
    <p:sldLayoutId id="2147485207" r:id="rId12"/>
    <p:sldLayoutId id="2147485208" r:id="rId13"/>
    <p:sldLayoutId id="2147485209" r:id="rId14"/>
    <p:sldLayoutId id="2147485210" r:id="rId15"/>
    <p:sldLayoutId id="2147485211" r:id="rId16"/>
    <p:sldLayoutId id="2147485212" r:id="rId17"/>
    <p:sldLayoutId id="2147485213" r:id="rId18"/>
    <p:sldLayoutId id="2147485214" r:id="rId19"/>
    <p:sldLayoutId id="2147485215" r:id="rId20"/>
    <p:sldLayoutId id="2147485216" r:id="rId21"/>
    <p:sldLayoutId id="2147485217" r:id="rId22"/>
    <p:sldLayoutId id="2147485218" r:id="rId23"/>
    <p:sldLayoutId id="2147485219" r:id="rId24"/>
    <p:sldLayoutId id="2147485220" r:id="rId25"/>
    <p:sldLayoutId id="2147485221" r:id="rId26"/>
    <p:sldLayoutId id="2147485222" r:id="rId27"/>
    <p:sldLayoutId id="2147485223" r:id="rId28"/>
    <p:sldLayoutId id="2147485224" r:id="rId29"/>
    <p:sldLayoutId id="2147485225" r:id="rId30"/>
    <p:sldLayoutId id="2147485226" r:id="rId31"/>
    <p:sldLayoutId id="2147485227" r:id="rId32"/>
    <p:sldLayoutId id="2147485228" r:id="rId33"/>
    <p:sldLayoutId id="2147485229" r:id="rId34"/>
    <p:sldLayoutId id="2147485230" r:id="rId35"/>
    <p:sldLayoutId id="2147485231" r:id="rId36"/>
    <p:sldLayoutId id="2147485232" r:id="rId37"/>
    <p:sldLayoutId id="2147485233" r:id="rId38"/>
    <p:sldLayoutId id="2147485234" r:id="rId39"/>
    <p:sldLayoutId id="2147485235" r:id="rId40"/>
    <p:sldLayoutId id="2147485236" r:id="rId41"/>
    <p:sldLayoutId id="2147485237" r:id="rId42"/>
    <p:sldLayoutId id="2147485238" r:id="rId43"/>
    <p:sldLayoutId id="2147485239" r:id="rId44"/>
    <p:sldLayoutId id="2147485240" r:id="rId45"/>
    <p:sldLayoutId id="2147485241" r:id="rId46"/>
    <p:sldLayoutId id="2147485242" r:id="rId47"/>
    <p:sldLayoutId id="2147485243" r:id="rId48"/>
    <p:sldLayoutId id="2147485244" r:id="rId49"/>
    <p:sldLayoutId id="2147485245" r:id="rId50"/>
    <p:sldLayoutId id="2147485246" r:id="rId51"/>
    <p:sldLayoutId id="2147485247" r:id="rId52"/>
    <p:sldLayoutId id="2147485248" r:id="rId53"/>
    <p:sldLayoutId id="2147485249" r:id="rId54"/>
    <p:sldLayoutId id="2147485250" r:id="rId55"/>
    <p:sldLayoutId id="2147485251" r:id="rId56"/>
    <p:sldLayoutId id="2147485252" r:id="rId57"/>
    <p:sldLayoutId id="2147485253" r:id="rId58"/>
    <p:sldLayoutId id="2147485254" r:id="rId59"/>
    <p:sldLayoutId id="2147485255" r:id="rId60"/>
    <p:sldLayoutId id="2147485256" r:id="rId61"/>
    <p:sldLayoutId id="2147485257" r:id="rId62"/>
    <p:sldLayoutId id="2147485258" r:id="rId63"/>
    <p:sldLayoutId id="2147485259" r:id="rId64"/>
    <p:sldLayoutId id="2147485260" r:id="rId65"/>
    <p:sldLayoutId id="2147485261" r:id="rId66"/>
    <p:sldLayoutId id="2147485262" r:id="rId67"/>
    <p:sldLayoutId id="2147485263" r:id="rId68"/>
    <p:sldLayoutId id="2147485264" r:id="rId69"/>
    <p:sldLayoutId id="2147485265" r:id="rId70"/>
    <p:sldLayoutId id="2147485266" r:id="rId71"/>
    <p:sldLayoutId id="2147485267" r:id="rId72"/>
    <p:sldLayoutId id="2147485268" r:id="rId7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cap="small" baseline="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42536C"/>
        </a:buClr>
        <a:buFont typeface="Arial" panose="020B0604020202020204" pitchFamily="34" charset="0"/>
        <a:buChar char="​"/>
        <a:defRPr lang="en-US" sz="1200" kern="1200">
          <a:solidFill>
            <a:srgbClr val="404040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42536C"/>
        </a:buClr>
        <a:buFont typeface="Arial" panose="020B0604020202020204" pitchFamily="34" charset="0"/>
        <a:buChar char="•"/>
        <a:defRPr lang="en-US" sz="1200" kern="1200">
          <a:solidFill>
            <a:srgbClr val="404040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42536C"/>
        </a:buClr>
        <a:buFont typeface="Trebuchet MS" panose="020B0603020202020204" pitchFamily="34" charset="0"/>
        <a:buChar char="–"/>
        <a:defRPr lang="en-US" sz="1200" kern="1200">
          <a:solidFill>
            <a:srgbClr val="404040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42536C"/>
        </a:buClr>
        <a:buFont typeface="Arial" panose="020B0604020202020204" pitchFamily="34" charset="0"/>
        <a:buChar char="​"/>
        <a:defRPr lang="en-US" sz="1600" kern="1200">
          <a:solidFill>
            <a:srgbClr val="42536C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42536C"/>
        </a:buClr>
        <a:buFont typeface="Arial" panose="020B0604020202020204" pitchFamily="34" charset="0"/>
        <a:buChar char="​"/>
        <a:defRPr lang="en-US" sz="1600" b="1" kern="1200" smtClean="0">
          <a:solidFill>
            <a:srgbClr val="404040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42536C"/>
        </a:buClr>
        <a:buFont typeface="Arial" panose="020B0604020202020204" pitchFamily="34" charset="0"/>
        <a:buChar char="•"/>
        <a:defRPr lang="en-US" sz="1600" kern="1200" smtClean="0">
          <a:solidFill>
            <a:srgbClr val="404040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42536C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404040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42536C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42536C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42536C"/>
        </a:buClr>
        <a:buFont typeface="Arial" panose="020B0604020202020204" pitchFamily="34" charset="0"/>
        <a:buChar char="​"/>
        <a:defRPr lang="en-US" sz="2400" kern="1200" baseline="0" dirty="0">
          <a:solidFill>
            <a:srgbClr val="42536C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slideLayout" Target="../slideLayouts/slideLayout139.xml"/><Relationship Id="rId7" Type="http://schemas.openxmlformats.org/officeDocument/2006/relationships/image" Target="../media/image54.jpeg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image" Target="../media/image53.emf"/><Relationship Id="rId5" Type="http://schemas.openxmlformats.org/officeDocument/2006/relationships/oleObject" Target="../embeddings/oleObject218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6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D843E3C-F151-4D58-AB8E-D9DE2BDE39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2372" y="223508"/>
            <a:ext cx="10764609" cy="1180221"/>
          </a:xfrm>
        </p:spPr>
        <p:txBody>
          <a:bodyPr wrap="square" anchor="ctr">
            <a:normAutofit/>
          </a:bodyPr>
          <a:lstStyle/>
          <a:p>
            <a:r>
              <a:rPr lang="en-US" sz="7200" b="1" dirty="0">
                <a:solidFill>
                  <a:schemeClr val="tx1"/>
                </a:solidFill>
              </a:rPr>
              <a:t>Scope 3 at Dow</a:t>
            </a:r>
            <a:endParaRPr lang="en-US" sz="23900" b="1" dirty="0">
              <a:solidFill>
                <a:schemeClr val="tx1"/>
              </a:solidFill>
            </a:endParaRP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6D5790E5-FF2B-6758-9F02-26BE1B6D06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2372" y="1297855"/>
            <a:ext cx="10073804" cy="936687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1800" dirty="0">
                <a:solidFill>
                  <a:schemeClr val="tx1"/>
                </a:solidFill>
                <a:effectLst/>
              </a:rPr>
              <a:t>Suzanne Greene</a:t>
            </a:r>
            <a:br>
              <a:rPr lang="en-US" sz="1800" dirty="0">
                <a:solidFill>
                  <a:schemeClr val="tx1"/>
                </a:solidFill>
                <a:effectLst/>
              </a:rPr>
            </a:br>
            <a:r>
              <a:rPr lang="en-US" sz="1800" dirty="0">
                <a:solidFill>
                  <a:schemeClr val="tx1"/>
                </a:solidFill>
                <a:effectLst/>
              </a:rPr>
              <a:t>Purchasing Environmental  Sustainability Director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800" dirty="0">
                <a:solidFill>
                  <a:schemeClr val="tx1"/>
                </a:solidFill>
                <a:effectLst/>
              </a:rPr>
              <a:t>&amp; Scope 3 SME</a:t>
            </a:r>
          </a:p>
        </p:txBody>
      </p:sp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AC3D1082-7CD8-4A7E-8D22-4FFE39C8206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>
              <a:spcAft>
                <a:spcPts val="600"/>
              </a:spcAft>
            </a:pPr>
            <a:fld id="{C0339CC0-4FEB-4F7D-8AA4-58256C86B806}" type="slidenum">
              <a:rPr lang="en-US" smtClean="0"/>
              <a:pPr>
                <a:spcAft>
                  <a:spcPts val="600"/>
                </a:spcAft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97921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Dow’s Scope 3 Climate Strategy</a:t>
            </a:r>
          </a:p>
        </p:txBody>
      </p:sp>
      <p:sp>
        <p:nvSpPr>
          <p:cNvPr id="3" name="Rectangle 2" descr="Earth from outer space">
            <a:extLst>
              <a:ext uri="{FF2B5EF4-FFF2-40B4-BE49-F238E27FC236}">
                <a16:creationId xmlns:a16="http://schemas.microsoft.com/office/drawing/2014/main" id="{58A05D1B-8569-7405-D40A-EA221B721E03}"/>
              </a:ext>
            </a:extLst>
          </p:cNvPr>
          <p:cNvSpPr/>
          <p:nvPr/>
        </p:nvSpPr>
        <p:spPr>
          <a:xfrm>
            <a:off x="8000779" y="1636689"/>
            <a:ext cx="3687349" cy="3257711"/>
          </a:xfrm>
          <a:prstGeom prst="rect">
            <a:avLst/>
          </a:prstGeom>
          <a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4" name="Rectangle 3" descr="Honeycomb structured steel wall">
            <a:extLst>
              <a:ext uri="{FF2B5EF4-FFF2-40B4-BE49-F238E27FC236}">
                <a16:creationId xmlns:a16="http://schemas.microsoft.com/office/drawing/2014/main" id="{0EFFE040-49F8-7C76-B586-99D41B182C24}"/>
              </a:ext>
            </a:extLst>
          </p:cNvPr>
          <p:cNvSpPr/>
          <p:nvPr/>
        </p:nvSpPr>
        <p:spPr>
          <a:xfrm>
            <a:off x="4243876" y="1651854"/>
            <a:ext cx="3673936" cy="3166924"/>
          </a:xfrm>
          <a:prstGeom prst="rect">
            <a:avLst/>
          </a:prstGeom>
          <a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7" name="Rectangle 6" descr="Connected wire-frame lines and dots">
            <a:extLst>
              <a:ext uri="{FF2B5EF4-FFF2-40B4-BE49-F238E27FC236}">
                <a16:creationId xmlns:a16="http://schemas.microsoft.com/office/drawing/2014/main" id="{C76965EE-6AD6-5017-8CD5-CCBD136A66BD}"/>
              </a:ext>
            </a:extLst>
          </p:cNvPr>
          <p:cNvSpPr/>
          <p:nvPr/>
        </p:nvSpPr>
        <p:spPr>
          <a:xfrm>
            <a:off x="464273" y="1642329"/>
            <a:ext cx="3533764" cy="2948721"/>
          </a:xfrm>
          <a:prstGeom prst="rect">
            <a:avLst/>
          </a:prstGeom>
          <a:blipFill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84FB0A7-0464-323D-669B-6761DC3AC54E}"/>
              </a:ext>
            </a:extLst>
          </p:cNvPr>
          <p:cNvSpPr/>
          <p:nvPr/>
        </p:nvSpPr>
        <p:spPr>
          <a:xfrm>
            <a:off x="7992459" y="3654619"/>
            <a:ext cx="3696087" cy="1956231"/>
          </a:xfrm>
          <a:prstGeom prst="rect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A926AF2-EF29-5BA9-4C6E-F53B4229535C}"/>
              </a:ext>
            </a:extLst>
          </p:cNvPr>
          <p:cNvSpPr/>
          <p:nvPr/>
        </p:nvSpPr>
        <p:spPr>
          <a:xfrm>
            <a:off x="4226516" y="3631954"/>
            <a:ext cx="3691296" cy="1812617"/>
          </a:xfrm>
          <a:prstGeom prst="rect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03D472-22C4-4E6D-FDEB-5B8D992F1574}"/>
              </a:ext>
            </a:extLst>
          </p:cNvPr>
          <p:cNvSpPr/>
          <p:nvPr/>
        </p:nvSpPr>
        <p:spPr>
          <a:xfrm>
            <a:off x="457969" y="3615022"/>
            <a:ext cx="3540068" cy="1838497"/>
          </a:xfrm>
          <a:prstGeom prst="rect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Retângulo 12">
            <a:extLst>
              <a:ext uri="{FF2B5EF4-FFF2-40B4-BE49-F238E27FC236}">
                <a16:creationId xmlns:a16="http://schemas.microsoft.com/office/drawing/2014/main" id="{6A6CC99E-61F8-13E4-D2E9-167461566B27}"/>
              </a:ext>
            </a:extLst>
          </p:cNvPr>
          <p:cNvSpPr/>
          <p:nvPr/>
        </p:nvSpPr>
        <p:spPr>
          <a:xfrm>
            <a:off x="555189" y="3942499"/>
            <a:ext cx="3320449" cy="1077218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254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tinuously improve the way we measure and track our scope 3 emissions and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254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spire our suppliers to do the sam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254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</a:p>
        </p:txBody>
      </p:sp>
      <p:sp>
        <p:nvSpPr>
          <p:cNvPr id="16" name="Retângulo 12">
            <a:extLst>
              <a:ext uri="{FF2B5EF4-FFF2-40B4-BE49-F238E27FC236}">
                <a16:creationId xmlns:a16="http://schemas.microsoft.com/office/drawing/2014/main" id="{4D375F15-FB65-829B-2DF6-803798F25A7D}"/>
              </a:ext>
            </a:extLst>
          </p:cNvPr>
          <p:cNvSpPr/>
          <p:nvPr/>
        </p:nvSpPr>
        <p:spPr>
          <a:xfrm>
            <a:off x="8129915" y="3942499"/>
            <a:ext cx="3471608" cy="1077218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254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am Dow collaborates across our value chain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254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drive mutual strategic value creation through decarbonization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2546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FC7E266-7319-3B71-17DD-74697A81AB99}"/>
              </a:ext>
            </a:extLst>
          </p:cNvPr>
          <p:cNvSpPr txBox="1"/>
          <p:nvPr/>
        </p:nvSpPr>
        <p:spPr>
          <a:xfrm>
            <a:off x="464272" y="5375502"/>
            <a:ext cx="11245122" cy="635731"/>
          </a:xfrm>
          <a:prstGeom prst="rect">
            <a:avLst/>
          </a:prstGeom>
          <a:solidFill>
            <a:srgbClr val="415364"/>
          </a:solidFill>
        </p:spPr>
        <p:txBody>
          <a:bodyPr wrap="square" lIns="60960" tIns="45720" rIns="60960" bIns="45720" rtlCol="0" anchor="ctr">
            <a:noAutofit/>
          </a:bodyPr>
          <a:lstStyle/>
          <a:p>
            <a:pPr marL="19050" marR="0" lvl="0" indent="0" algn="ctr" defTabSz="1219140" rtl="0" eaLnBrk="1" fontAlgn="auto" latinLnBrk="0" hangingPunct="1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rgbClr val="415364"/>
              </a:buClr>
              <a:buSzTx/>
              <a:buFontTx/>
              <a:buNone/>
              <a:tabLst/>
              <a:defRPr/>
            </a:pPr>
            <a:r>
              <a:rPr kumimoji="0" lang="en-US" sz="18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- Build a value-generating Scope 3 decarbonization pathway -- </a:t>
            </a:r>
            <a:endParaRPr kumimoji="0" lang="en-US" sz="1867" b="1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tângulo 12">
            <a:extLst>
              <a:ext uri="{FF2B5EF4-FFF2-40B4-BE49-F238E27FC236}">
                <a16:creationId xmlns:a16="http://schemas.microsoft.com/office/drawing/2014/main" id="{F9F1FC3C-AFD8-06A9-1FD2-1E954C5A6204}"/>
              </a:ext>
            </a:extLst>
          </p:cNvPr>
          <p:cNvSpPr/>
          <p:nvPr/>
        </p:nvSpPr>
        <p:spPr>
          <a:xfrm>
            <a:off x="4272360" y="3942499"/>
            <a:ext cx="3616968" cy="1077218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254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nabl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254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cope 3 data transparency across Dow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254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 encourage suppliers to disclose Product Carbon Footprint (PCF) and reduction targets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2546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65241AF-01D1-0354-3D28-9EA98CCA33D0}"/>
              </a:ext>
            </a:extLst>
          </p:cNvPr>
          <p:cNvGrpSpPr/>
          <p:nvPr/>
        </p:nvGrpSpPr>
        <p:grpSpPr>
          <a:xfrm>
            <a:off x="465055" y="2626975"/>
            <a:ext cx="3534851" cy="994051"/>
            <a:chOff x="-2729518" y="1797606"/>
            <a:chExt cx="3577965" cy="994051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8F2E48-18F5-0CCF-E48B-4AF5590D2E0B}"/>
                </a:ext>
              </a:extLst>
            </p:cNvPr>
            <p:cNvSpPr/>
            <p:nvPr/>
          </p:nvSpPr>
          <p:spPr>
            <a:xfrm>
              <a:off x="-2729518" y="1797606"/>
              <a:ext cx="3577965" cy="989385"/>
            </a:xfrm>
            <a:prstGeom prst="rect">
              <a:avLst/>
            </a:prstGeom>
            <a:solidFill>
              <a:srgbClr val="EA001A">
                <a:lumMod val="75000"/>
                <a:alpha val="55000"/>
              </a:srgbClr>
            </a:solidFill>
            <a:ln>
              <a:noFill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77263C7-3D4D-E8F3-0220-921ADB60A083}"/>
                </a:ext>
              </a:extLst>
            </p:cNvPr>
            <p:cNvSpPr txBox="1"/>
            <p:nvPr/>
          </p:nvSpPr>
          <p:spPr>
            <a:xfrm>
              <a:off x="-2610696" y="1807653"/>
              <a:ext cx="3360948" cy="98400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96520" tIns="96520" rIns="96520" bIns="96520" numCol="1" spcCol="1270" anchor="ctr" anchorCtr="0">
              <a:noAutofit/>
            </a:bodyPr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MPROVE </a:t>
              </a:r>
            </a:p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667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ATA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0AD7CA8-8D26-53CC-1F9B-0BBE34B08189}"/>
              </a:ext>
            </a:extLst>
          </p:cNvPr>
          <p:cNvGrpSpPr/>
          <p:nvPr/>
        </p:nvGrpSpPr>
        <p:grpSpPr>
          <a:xfrm>
            <a:off x="4232846" y="2593381"/>
            <a:ext cx="3684965" cy="1061238"/>
            <a:chOff x="952551" y="1887462"/>
            <a:chExt cx="3707183" cy="78464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2D1685F-4706-1A57-A28B-654B29988A92}"/>
                </a:ext>
              </a:extLst>
            </p:cNvPr>
            <p:cNvSpPr/>
            <p:nvPr/>
          </p:nvSpPr>
          <p:spPr>
            <a:xfrm>
              <a:off x="952551" y="1887462"/>
              <a:ext cx="3707183" cy="770153"/>
            </a:xfrm>
            <a:prstGeom prst="rect">
              <a:avLst/>
            </a:prstGeom>
            <a:solidFill>
              <a:srgbClr val="EA001A">
                <a:lumMod val="75000"/>
                <a:alpha val="55000"/>
              </a:srgbClr>
            </a:solidFill>
            <a:ln>
              <a:noFill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18D0212-21EF-6456-CD8A-390DB15E39BB}"/>
                </a:ext>
              </a:extLst>
            </p:cNvPr>
            <p:cNvSpPr txBox="1"/>
            <p:nvPr/>
          </p:nvSpPr>
          <p:spPr>
            <a:xfrm>
              <a:off x="1176712" y="1905807"/>
              <a:ext cx="3327592" cy="76630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96520" tIns="96520" rIns="96520" bIns="96520" numCol="1" spcCol="1270" anchor="ctr" anchorCtr="0">
              <a:noAutofit/>
            </a:bodyPr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NABLE </a:t>
              </a:r>
              <a:r>
                <a:rPr kumimoji="0" lang="en-US" sz="2667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RANSPARENCY</a:t>
              </a: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D9E428E0-69F5-A9E4-141C-933BDDEBAA12}"/>
              </a:ext>
            </a:extLst>
          </p:cNvPr>
          <p:cNvSpPr/>
          <p:nvPr/>
        </p:nvSpPr>
        <p:spPr>
          <a:xfrm>
            <a:off x="8005441" y="2659895"/>
            <a:ext cx="3682687" cy="989385"/>
          </a:xfrm>
          <a:prstGeom prst="rect">
            <a:avLst/>
          </a:prstGeom>
          <a:solidFill>
            <a:srgbClr val="EA001A">
              <a:lumMod val="75000"/>
              <a:alpha val="55000"/>
            </a:srgbClr>
          </a:solidFill>
          <a:ln>
            <a:noFill/>
          </a:ln>
          <a:effec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66848E0-98F5-1C55-D45C-8806BC1D74F7}"/>
              </a:ext>
            </a:extLst>
          </p:cNvPr>
          <p:cNvSpPr/>
          <p:nvPr/>
        </p:nvSpPr>
        <p:spPr>
          <a:xfrm>
            <a:off x="1372678" y="799063"/>
            <a:ext cx="9133796" cy="78055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254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carbonize our value chain to deliver Dow’s 2050 carbon neutrality goal </a:t>
            </a:r>
            <a:b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254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rough strategic actions and collaborations.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42546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88284EF-66B8-7B50-7FB3-C7A349C47300}"/>
              </a:ext>
            </a:extLst>
          </p:cNvPr>
          <p:cNvSpPr txBox="1"/>
          <p:nvPr/>
        </p:nvSpPr>
        <p:spPr>
          <a:xfrm>
            <a:off x="8218698" y="2634196"/>
            <a:ext cx="3307649" cy="979608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96520" tIns="96520" rIns="96520" bIns="96520" numCol="1" spcCol="1270" anchor="ctr" anchorCtr="0">
            <a:no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OURNEY</a:t>
            </a:r>
          </a:p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TH2ZERO</a:t>
            </a:r>
          </a:p>
        </p:txBody>
      </p:sp>
      <p:sp>
        <p:nvSpPr>
          <p:cNvPr id="28" name="Arc 27">
            <a:extLst>
              <a:ext uri="{FF2B5EF4-FFF2-40B4-BE49-F238E27FC236}">
                <a16:creationId xmlns:a16="http://schemas.microsoft.com/office/drawing/2014/main" id="{BF615E37-6175-7BD0-E811-B1212CB4FCCE}"/>
              </a:ext>
            </a:extLst>
          </p:cNvPr>
          <p:cNvSpPr/>
          <p:nvPr/>
        </p:nvSpPr>
        <p:spPr>
          <a:xfrm rot="11630490" flipH="1">
            <a:off x="2754838" y="1997344"/>
            <a:ext cx="7547175" cy="2371038"/>
          </a:xfrm>
          <a:prstGeom prst="arc">
            <a:avLst>
              <a:gd name="adj1" fmla="val 1548574"/>
              <a:gd name="adj2" fmla="val 11286659"/>
            </a:avLst>
          </a:prstGeom>
          <a:noFill/>
          <a:ln w="38100" cap="flat" cmpd="sng" algn="ctr">
            <a:solidFill>
              <a:srgbClr val="FFFFFF">
                <a:lumMod val="75000"/>
              </a:srgbClr>
            </a:solidFill>
            <a:prstDash val="solid"/>
            <a:tailEnd type="arrow"/>
          </a:ln>
          <a:effectLst/>
        </p:spPr>
        <p:txBody>
          <a:bodyPr rtlCol="0" anchor="ctr"/>
          <a:lstStyle/>
          <a:p>
            <a:pPr marL="0" marR="0" lvl="0" indent="0" algn="ctr" defTabSz="685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srgbClr val="41536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Arc 28">
            <a:extLst>
              <a:ext uri="{FF2B5EF4-FFF2-40B4-BE49-F238E27FC236}">
                <a16:creationId xmlns:a16="http://schemas.microsoft.com/office/drawing/2014/main" id="{AFAF74F9-DBF0-A2DE-7071-F6E9DC7E3C3D}"/>
              </a:ext>
            </a:extLst>
          </p:cNvPr>
          <p:cNvSpPr/>
          <p:nvPr/>
        </p:nvSpPr>
        <p:spPr>
          <a:xfrm rot="758486" flipH="1">
            <a:off x="1626277" y="1580458"/>
            <a:ext cx="7778687" cy="2000704"/>
          </a:xfrm>
          <a:prstGeom prst="arc">
            <a:avLst>
              <a:gd name="adj1" fmla="val 1266731"/>
              <a:gd name="adj2" fmla="val 11269646"/>
            </a:avLst>
          </a:prstGeom>
          <a:noFill/>
          <a:ln w="38100" cap="flat" cmpd="sng" algn="ctr">
            <a:solidFill>
              <a:srgbClr val="FFFFFF">
                <a:lumMod val="65000"/>
              </a:srgbClr>
            </a:solidFill>
            <a:prstDash val="solid"/>
            <a:tailEnd type="arrow"/>
          </a:ln>
          <a:effectLst/>
        </p:spPr>
        <p:txBody>
          <a:bodyPr rtlCol="0" anchor="ctr"/>
          <a:lstStyle/>
          <a:p>
            <a:pPr marL="0" marR="0" lvl="0" indent="0" algn="ctr" defTabSz="685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srgbClr val="41536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8127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A14358-743F-8A58-17BC-29A86376CA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High emissions = high ambiti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6C81D06-41FB-2182-FFE5-9A11DB660EF1}"/>
              </a:ext>
            </a:extLst>
          </p:cNvPr>
          <p:cNvGrpSpPr/>
          <p:nvPr/>
        </p:nvGrpSpPr>
        <p:grpSpPr>
          <a:xfrm>
            <a:off x="628650" y="998202"/>
            <a:ext cx="10933350" cy="5245100"/>
            <a:chOff x="628650" y="1016000"/>
            <a:chExt cx="10933350" cy="5245100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BB7F337E-C230-BF8D-EAC7-54A2EB555297}"/>
                </a:ext>
              </a:extLst>
            </p:cNvPr>
            <p:cNvSpPr/>
            <p:nvPr/>
          </p:nvSpPr>
          <p:spPr>
            <a:xfrm>
              <a:off x="628650" y="1016000"/>
              <a:ext cx="10933350" cy="5245100"/>
            </a:xfrm>
            <a:custGeom>
              <a:avLst/>
              <a:gdLst>
                <a:gd name="connsiteX0" fmla="*/ 0 w 10933350"/>
                <a:gd name="connsiteY0" fmla="*/ 445834 h 5245100"/>
                <a:gd name="connsiteX1" fmla="*/ 445834 w 10933350"/>
                <a:gd name="connsiteY1" fmla="*/ 0 h 5245100"/>
                <a:gd name="connsiteX2" fmla="*/ 10487517 w 10933350"/>
                <a:gd name="connsiteY2" fmla="*/ 0 h 5245100"/>
                <a:gd name="connsiteX3" fmla="*/ 10933351 w 10933350"/>
                <a:gd name="connsiteY3" fmla="*/ 445834 h 5245100"/>
                <a:gd name="connsiteX4" fmla="*/ 10933350 w 10933350"/>
                <a:gd name="connsiteY4" fmla="*/ 4799267 h 5245100"/>
                <a:gd name="connsiteX5" fmla="*/ 10487516 w 10933350"/>
                <a:gd name="connsiteY5" fmla="*/ 5245101 h 5245100"/>
                <a:gd name="connsiteX6" fmla="*/ 445834 w 10933350"/>
                <a:gd name="connsiteY6" fmla="*/ 5245100 h 5245100"/>
                <a:gd name="connsiteX7" fmla="*/ 0 w 10933350"/>
                <a:gd name="connsiteY7" fmla="*/ 4799266 h 5245100"/>
                <a:gd name="connsiteX8" fmla="*/ 0 w 10933350"/>
                <a:gd name="connsiteY8" fmla="*/ 445834 h 5245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33350" h="5245100">
                  <a:moveTo>
                    <a:pt x="0" y="445834"/>
                  </a:moveTo>
                  <a:cubicBezTo>
                    <a:pt x="0" y="199607"/>
                    <a:pt x="199607" y="0"/>
                    <a:pt x="445834" y="0"/>
                  </a:cubicBezTo>
                  <a:lnTo>
                    <a:pt x="10487517" y="0"/>
                  </a:lnTo>
                  <a:cubicBezTo>
                    <a:pt x="10733744" y="0"/>
                    <a:pt x="10933351" y="199607"/>
                    <a:pt x="10933351" y="445834"/>
                  </a:cubicBezTo>
                  <a:cubicBezTo>
                    <a:pt x="10933351" y="1896978"/>
                    <a:pt x="10933350" y="3348123"/>
                    <a:pt x="10933350" y="4799267"/>
                  </a:cubicBezTo>
                  <a:cubicBezTo>
                    <a:pt x="10933350" y="5045494"/>
                    <a:pt x="10733743" y="5245101"/>
                    <a:pt x="10487516" y="5245101"/>
                  </a:cubicBezTo>
                  <a:lnTo>
                    <a:pt x="445834" y="5245100"/>
                  </a:lnTo>
                  <a:cubicBezTo>
                    <a:pt x="199607" y="5245100"/>
                    <a:pt x="0" y="5045493"/>
                    <a:pt x="0" y="4799266"/>
                  </a:cubicBezTo>
                  <a:lnTo>
                    <a:pt x="0" y="445834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shade val="8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2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9170" tIns="279170" rIns="279170" bIns="4201360" numCol="1" spcCol="1270" anchor="t" anchorCtr="0">
              <a:noAutofit/>
            </a:bodyPr>
            <a:lstStyle/>
            <a:p>
              <a:pPr marL="0" marR="0" lvl="0" indent="0" algn="l" defTabSz="17335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ll Dow suppliers</a:t>
              </a: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28845A24-B12F-1700-5C06-B894EACE235F}"/>
                </a:ext>
              </a:extLst>
            </p:cNvPr>
            <p:cNvSpPr/>
            <p:nvPr/>
          </p:nvSpPr>
          <p:spPr>
            <a:xfrm>
              <a:off x="901983" y="2327275"/>
              <a:ext cx="1640002" cy="1794551"/>
            </a:xfrm>
            <a:custGeom>
              <a:avLst/>
              <a:gdLst>
                <a:gd name="connsiteX0" fmla="*/ 0 w 1640002"/>
                <a:gd name="connsiteY0" fmla="*/ 0 h 1794551"/>
                <a:gd name="connsiteX1" fmla="*/ 1366663 w 1640002"/>
                <a:gd name="connsiteY1" fmla="*/ 0 h 1794551"/>
                <a:gd name="connsiteX2" fmla="*/ 1640002 w 1640002"/>
                <a:gd name="connsiteY2" fmla="*/ 273339 h 1794551"/>
                <a:gd name="connsiteX3" fmla="*/ 1640002 w 1640002"/>
                <a:gd name="connsiteY3" fmla="*/ 1794551 h 1794551"/>
                <a:gd name="connsiteX4" fmla="*/ 0 w 1640002"/>
                <a:gd name="connsiteY4" fmla="*/ 1794551 h 1794551"/>
                <a:gd name="connsiteX5" fmla="*/ 0 w 1640002"/>
                <a:gd name="connsiteY5" fmla="*/ 0 h 1794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0002" h="1794551">
                  <a:moveTo>
                    <a:pt x="0" y="0"/>
                  </a:moveTo>
                  <a:lnTo>
                    <a:pt x="1366663" y="0"/>
                  </a:lnTo>
                  <a:lnTo>
                    <a:pt x="1640002" y="273339"/>
                  </a:lnTo>
                  <a:lnTo>
                    <a:pt x="1640002" y="1794551"/>
                  </a:lnTo>
                  <a:lnTo>
                    <a:pt x="0" y="1794551"/>
                  </a:lnTo>
                  <a:lnTo>
                    <a:pt x="0" y="0"/>
                  </a:lnTo>
                  <a:close/>
                </a:path>
              </a:pathLst>
            </a:cu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2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1440" tIns="228110" rIns="228110" bIns="91440" numCol="1" spcCol="1270" anchor="ctr" anchorCtr="0">
              <a:noAutofit/>
            </a:bodyPr>
            <a:lstStyle/>
            <a:p>
              <a:pPr marL="0" marR="0" lvl="0" indent="0" algn="ctr" defTabSz="10668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40404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t a climate target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D1C6FDD-FA02-0228-FE62-6D7A710F0725}"/>
                </a:ext>
              </a:extLst>
            </p:cNvPr>
            <p:cNvSpPr/>
            <p:nvPr/>
          </p:nvSpPr>
          <p:spPr>
            <a:xfrm>
              <a:off x="901983" y="4201984"/>
              <a:ext cx="1640002" cy="1794551"/>
            </a:xfrm>
            <a:custGeom>
              <a:avLst/>
              <a:gdLst>
                <a:gd name="connsiteX0" fmla="*/ 0 w 1640002"/>
                <a:gd name="connsiteY0" fmla="*/ 0 h 1794551"/>
                <a:gd name="connsiteX1" fmla="*/ 1366663 w 1640002"/>
                <a:gd name="connsiteY1" fmla="*/ 0 h 1794551"/>
                <a:gd name="connsiteX2" fmla="*/ 1640002 w 1640002"/>
                <a:gd name="connsiteY2" fmla="*/ 273339 h 1794551"/>
                <a:gd name="connsiteX3" fmla="*/ 1640002 w 1640002"/>
                <a:gd name="connsiteY3" fmla="*/ 1794551 h 1794551"/>
                <a:gd name="connsiteX4" fmla="*/ 0 w 1640002"/>
                <a:gd name="connsiteY4" fmla="*/ 1794551 h 1794551"/>
                <a:gd name="connsiteX5" fmla="*/ 0 w 1640002"/>
                <a:gd name="connsiteY5" fmla="*/ 0 h 1794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0002" h="1794551">
                  <a:moveTo>
                    <a:pt x="0" y="0"/>
                  </a:moveTo>
                  <a:lnTo>
                    <a:pt x="1366663" y="0"/>
                  </a:lnTo>
                  <a:lnTo>
                    <a:pt x="1640002" y="273339"/>
                  </a:lnTo>
                  <a:lnTo>
                    <a:pt x="1640002" y="1794551"/>
                  </a:lnTo>
                  <a:lnTo>
                    <a:pt x="0" y="1794551"/>
                  </a:lnTo>
                  <a:lnTo>
                    <a:pt x="0" y="0"/>
                  </a:lnTo>
                  <a:close/>
                </a:path>
              </a:pathLst>
            </a:cu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>
                <a:shade val="80000"/>
                <a:hueOff val="190093"/>
                <a:satOff val="-8635"/>
                <a:lumOff val="11629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2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1440" tIns="228110" rIns="228110" bIns="91440" numCol="1" spcCol="1270" anchor="ctr" anchorCtr="0">
              <a:noAutofit/>
            </a:bodyPr>
            <a:lstStyle/>
            <a:p>
              <a:pPr marL="0" marR="0" lvl="0" indent="0" algn="ctr" defTabSz="10668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40404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rack progress to goals </a:t>
              </a: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8A9B63BD-8856-508F-D591-A4778989B381}"/>
                </a:ext>
              </a:extLst>
            </p:cNvPr>
            <p:cNvSpPr/>
            <p:nvPr/>
          </p:nvSpPr>
          <p:spPr>
            <a:xfrm>
              <a:off x="2815320" y="2327275"/>
              <a:ext cx="8473346" cy="3671570"/>
            </a:xfrm>
            <a:custGeom>
              <a:avLst/>
              <a:gdLst>
                <a:gd name="connsiteX0" fmla="*/ 0 w 8473346"/>
                <a:gd name="connsiteY0" fmla="*/ 385515 h 3671570"/>
                <a:gd name="connsiteX1" fmla="*/ 385515 w 8473346"/>
                <a:gd name="connsiteY1" fmla="*/ 0 h 3671570"/>
                <a:gd name="connsiteX2" fmla="*/ 8087831 w 8473346"/>
                <a:gd name="connsiteY2" fmla="*/ 0 h 3671570"/>
                <a:gd name="connsiteX3" fmla="*/ 8473346 w 8473346"/>
                <a:gd name="connsiteY3" fmla="*/ 385515 h 3671570"/>
                <a:gd name="connsiteX4" fmla="*/ 8473346 w 8473346"/>
                <a:gd name="connsiteY4" fmla="*/ 3286055 h 3671570"/>
                <a:gd name="connsiteX5" fmla="*/ 8087831 w 8473346"/>
                <a:gd name="connsiteY5" fmla="*/ 3671570 h 3671570"/>
                <a:gd name="connsiteX6" fmla="*/ 385515 w 8473346"/>
                <a:gd name="connsiteY6" fmla="*/ 3671570 h 3671570"/>
                <a:gd name="connsiteX7" fmla="*/ 0 w 8473346"/>
                <a:gd name="connsiteY7" fmla="*/ 3286055 h 3671570"/>
                <a:gd name="connsiteX8" fmla="*/ 0 w 8473346"/>
                <a:gd name="connsiteY8" fmla="*/ 385515 h 3671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473346" h="3671570">
                  <a:moveTo>
                    <a:pt x="0" y="385515"/>
                  </a:moveTo>
                  <a:cubicBezTo>
                    <a:pt x="0" y="172601"/>
                    <a:pt x="172601" y="0"/>
                    <a:pt x="385515" y="0"/>
                  </a:cubicBezTo>
                  <a:lnTo>
                    <a:pt x="8087831" y="0"/>
                  </a:lnTo>
                  <a:cubicBezTo>
                    <a:pt x="8300745" y="0"/>
                    <a:pt x="8473346" y="172601"/>
                    <a:pt x="8473346" y="385515"/>
                  </a:cubicBezTo>
                  <a:lnTo>
                    <a:pt x="8473346" y="3286055"/>
                  </a:lnTo>
                  <a:cubicBezTo>
                    <a:pt x="8473346" y="3498969"/>
                    <a:pt x="8300745" y="3671570"/>
                    <a:pt x="8087831" y="3671570"/>
                  </a:cubicBezTo>
                  <a:lnTo>
                    <a:pt x="385515" y="3671570"/>
                  </a:lnTo>
                  <a:cubicBezTo>
                    <a:pt x="172601" y="3671570"/>
                    <a:pt x="0" y="3498969"/>
                    <a:pt x="0" y="3286055"/>
                  </a:cubicBezTo>
                  <a:lnTo>
                    <a:pt x="0" y="38551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shade val="80000"/>
                <a:hueOff val="285140"/>
                <a:satOff val="-12953"/>
                <a:lumOff val="17444"/>
                <a:alphaOff val="0"/>
              </a:schemeClr>
            </a:fillRef>
            <a:effectRef idx="3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1503" tIns="261503" rIns="261503" bIns="2444360" numCol="1" spcCol="1270" anchor="t" anchorCtr="0">
              <a:noAutofit/>
            </a:bodyPr>
            <a:lstStyle/>
            <a:p>
              <a:pPr marL="0" marR="0" lvl="0" indent="0" algn="l" defTabSz="17335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igh CO2 emissions </a:t>
              </a:r>
              <a:r>
                <a:rPr lang="en-US" sz="3200" dirty="0">
                  <a:solidFill>
                    <a:prstClr val="white"/>
                  </a:solidFill>
                  <a:latin typeface="Calibri"/>
                </a:rPr>
                <a:t>overall and by business</a:t>
              </a:r>
              <a:endPara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1D3315A-EF74-A011-345F-57C3A3DAE59C}"/>
                </a:ext>
              </a:extLst>
            </p:cNvPr>
            <p:cNvSpPr/>
            <p:nvPr/>
          </p:nvSpPr>
          <p:spPr>
            <a:xfrm>
              <a:off x="3033986" y="3284341"/>
              <a:ext cx="1694669" cy="2302075"/>
            </a:xfrm>
            <a:custGeom>
              <a:avLst/>
              <a:gdLst>
                <a:gd name="connsiteX0" fmla="*/ 0 w 1694669"/>
                <a:gd name="connsiteY0" fmla="*/ 0 h 2111152"/>
                <a:gd name="connsiteX1" fmla="*/ 1412219 w 1694669"/>
                <a:gd name="connsiteY1" fmla="*/ 0 h 2111152"/>
                <a:gd name="connsiteX2" fmla="*/ 1694669 w 1694669"/>
                <a:gd name="connsiteY2" fmla="*/ 282450 h 2111152"/>
                <a:gd name="connsiteX3" fmla="*/ 1694669 w 1694669"/>
                <a:gd name="connsiteY3" fmla="*/ 2111152 h 2111152"/>
                <a:gd name="connsiteX4" fmla="*/ 0 w 1694669"/>
                <a:gd name="connsiteY4" fmla="*/ 2111152 h 2111152"/>
                <a:gd name="connsiteX5" fmla="*/ 0 w 1694669"/>
                <a:gd name="connsiteY5" fmla="*/ 0 h 2111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4669" h="2111152">
                  <a:moveTo>
                    <a:pt x="0" y="0"/>
                  </a:moveTo>
                  <a:lnTo>
                    <a:pt x="1412219" y="0"/>
                  </a:lnTo>
                  <a:lnTo>
                    <a:pt x="1694669" y="282450"/>
                  </a:lnTo>
                  <a:lnTo>
                    <a:pt x="1694669" y="2111152"/>
                  </a:lnTo>
                  <a:lnTo>
                    <a:pt x="0" y="2111152"/>
                  </a:lnTo>
                  <a:lnTo>
                    <a:pt x="0" y="0"/>
                  </a:lnTo>
                  <a:close/>
                </a:path>
              </a:pathLst>
            </a:cu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>
                <a:shade val="80000"/>
                <a:hueOff val="380187"/>
                <a:satOff val="-17270"/>
                <a:lumOff val="23259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2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1440" tIns="232665" rIns="232665" bIns="91440" numCol="1" spcCol="1270" anchor="ctr" anchorCtr="0">
              <a:noAutofit/>
            </a:bodyPr>
            <a:lstStyle/>
            <a:p>
              <a:pPr marL="0" marR="0" lvl="0" indent="0" algn="ctr" defTabSz="10668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40404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port progress annually via CDP</a:t>
              </a: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3EE1E7BF-4677-164C-8DED-3AB331AAEF2C}"/>
                </a:ext>
              </a:extLst>
            </p:cNvPr>
            <p:cNvSpPr/>
            <p:nvPr/>
          </p:nvSpPr>
          <p:spPr>
            <a:xfrm>
              <a:off x="5001990" y="3583982"/>
              <a:ext cx="3284773" cy="1872164"/>
            </a:xfrm>
            <a:custGeom>
              <a:avLst/>
              <a:gdLst>
                <a:gd name="connsiteX0" fmla="*/ 0 w 6068009"/>
                <a:gd name="connsiteY0" fmla="*/ 220294 h 2098040"/>
                <a:gd name="connsiteX1" fmla="*/ 220294 w 6068009"/>
                <a:gd name="connsiteY1" fmla="*/ 0 h 2098040"/>
                <a:gd name="connsiteX2" fmla="*/ 5847715 w 6068009"/>
                <a:gd name="connsiteY2" fmla="*/ 0 h 2098040"/>
                <a:gd name="connsiteX3" fmla="*/ 6068009 w 6068009"/>
                <a:gd name="connsiteY3" fmla="*/ 220294 h 2098040"/>
                <a:gd name="connsiteX4" fmla="*/ 6068009 w 6068009"/>
                <a:gd name="connsiteY4" fmla="*/ 1877746 h 2098040"/>
                <a:gd name="connsiteX5" fmla="*/ 5847715 w 6068009"/>
                <a:gd name="connsiteY5" fmla="*/ 2098040 h 2098040"/>
                <a:gd name="connsiteX6" fmla="*/ 220294 w 6068009"/>
                <a:gd name="connsiteY6" fmla="*/ 2098040 h 2098040"/>
                <a:gd name="connsiteX7" fmla="*/ 0 w 6068009"/>
                <a:gd name="connsiteY7" fmla="*/ 1877746 h 2098040"/>
                <a:gd name="connsiteX8" fmla="*/ 0 w 6068009"/>
                <a:gd name="connsiteY8" fmla="*/ 220294 h 2098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68009" h="2098040">
                  <a:moveTo>
                    <a:pt x="0" y="220294"/>
                  </a:moveTo>
                  <a:cubicBezTo>
                    <a:pt x="0" y="98629"/>
                    <a:pt x="98629" y="0"/>
                    <a:pt x="220294" y="0"/>
                  </a:cubicBezTo>
                  <a:lnTo>
                    <a:pt x="5847715" y="0"/>
                  </a:lnTo>
                  <a:cubicBezTo>
                    <a:pt x="5969380" y="0"/>
                    <a:pt x="6068009" y="98629"/>
                    <a:pt x="6068009" y="220294"/>
                  </a:cubicBezTo>
                  <a:lnTo>
                    <a:pt x="6068009" y="1877746"/>
                  </a:lnTo>
                  <a:cubicBezTo>
                    <a:pt x="6068009" y="1999411"/>
                    <a:pt x="5969380" y="2098040"/>
                    <a:pt x="5847715" y="2098040"/>
                  </a:cubicBezTo>
                  <a:lnTo>
                    <a:pt x="220294" y="2098040"/>
                  </a:lnTo>
                  <a:cubicBezTo>
                    <a:pt x="98629" y="2098040"/>
                    <a:pt x="0" y="1999411"/>
                    <a:pt x="0" y="1877746"/>
                  </a:cubicBezTo>
                  <a:lnTo>
                    <a:pt x="0" y="220294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shade val="80000"/>
                <a:hueOff val="570280"/>
                <a:satOff val="-25905"/>
                <a:lumOff val="34888"/>
                <a:alphaOff val="0"/>
              </a:schemeClr>
            </a:fillRef>
            <a:effectRef idx="3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13112" tIns="213112" rIns="213112" bIns="1248749" numCol="1" spcCol="1270" anchor="t" anchorCtr="0">
              <a:noAutofit/>
            </a:bodyPr>
            <a:lstStyle/>
            <a:p>
              <a:pPr marL="0" marR="0" lvl="0" indent="0" algn="ctr" defTabSz="17335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igh CO2 material suppliers</a:t>
              </a:r>
            </a:p>
          </p:txBody>
        </p:sp>
        <p:sp>
          <p:nvSpPr>
            <p:cNvPr id="11" name="Rectangle: Single Corner Snipped 10">
              <a:extLst>
                <a:ext uri="{FF2B5EF4-FFF2-40B4-BE49-F238E27FC236}">
                  <a16:creationId xmlns:a16="http://schemas.microsoft.com/office/drawing/2014/main" id="{4D43DB70-F74F-052D-515B-9428210125D5}"/>
                </a:ext>
              </a:extLst>
            </p:cNvPr>
            <p:cNvSpPr/>
            <p:nvPr/>
          </p:nvSpPr>
          <p:spPr>
            <a:xfrm>
              <a:off x="5181100" y="4490775"/>
              <a:ext cx="2964501" cy="755681"/>
            </a:xfrm>
            <a:prstGeom prst="snip1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>
                <a:shade val="80000"/>
                <a:hueOff val="380187"/>
                <a:satOff val="-17270"/>
                <a:lumOff val="23259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2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1440" tIns="91440" rIns="232665" bIns="91440" numCol="1" spcCol="1270" anchor="ctr" anchorCtr="0">
              <a:noAutofit/>
            </a:bodyPr>
            <a:lstStyle/>
            <a:p>
              <a:pPr marL="0" marR="0" lvl="0" indent="0" algn="ctr" defTabSz="10668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40404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port specific product carbon footprints</a:t>
              </a:r>
            </a:p>
          </p:txBody>
        </p:sp>
      </p:grp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A17E134C-ACB7-8AA9-1C56-C7DC98342DEE}"/>
              </a:ext>
            </a:extLst>
          </p:cNvPr>
          <p:cNvSpPr/>
          <p:nvPr/>
        </p:nvSpPr>
        <p:spPr>
          <a:xfrm>
            <a:off x="8562669" y="3266543"/>
            <a:ext cx="2607531" cy="1117848"/>
          </a:xfrm>
          <a:custGeom>
            <a:avLst/>
            <a:gdLst>
              <a:gd name="connsiteX0" fmla="*/ 0 w 6068009"/>
              <a:gd name="connsiteY0" fmla="*/ 220294 h 2098040"/>
              <a:gd name="connsiteX1" fmla="*/ 220294 w 6068009"/>
              <a:gd name="connsiteY1" fmla="*/ 0 h 2098040"/>
              <a:gd name="connsiteX2" fmla="*/ 5847715 w 6068009"/>
              <a:gd name="connsiteY2" fmla="*/ 0 h 2098040"/>
              <a:gd name="connsiteX3" fmla="*/ 6068009 w 6068009"/>
              <a:gd name="connsiteY3" fmla="*/ 220294 h 2098040"/>
              <a:gd name="connsiteX4" fmla="*/ 6068009 w 6068009"/>
              <a:gd name="connsiteY4" fmla="*/ 1877746 h 2098040"/>
              <a:gd name="connsiteX5" fmla="*/ 5847715 w 6068009"/>
              <a:gd name="connsiteY5" fmla="*/ 2098040 h 2098040"/>
              <a:gd name="connsiteX6" fmla="*/ 220294 w 6068009"/>
              <a:gd name="connsiteY6" fmla="*/ 2098040 h 2098040"/>
              <a:gd name="connsiteX7" fmla="*/ 0 w 6068009"/>
              <a:gd name="connsiteY7" fmla="*/ 1877746 h 2098040"/>
              <a:gd name="connsiteX8" fmla="*/ 0 w 6068009"/>
              <a:gd name="connsiteY8" fmla="*/ 220294 h 2098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68009" h="2098040">
                <a:moveTo>
                  <a:pt x="0" y="220294"/>
                </a:moveTo>
                <a:cubicBezTo>
                  <a:pt x="0" y="98629"/>
                  <a:pt x="98629" y="0"/>
                  <a:pt x="220294" y="0"/>
                </a:cubicBezTo>
                <a:lnTo>
                  <a:pt x="5847715" y="0"/>
                </a:lnTo>
                <a:cubicBezTo>
                  <a:pt x="5969380" y="0"/>
                  <a:pt x="6068009" y="98629"/>
                  <a:pt x="6068009" y="220294"/>
                </a:cubicBezTo>
                <a:lnTo>
                  <a:pt x="6068009" y="1877746"/>
                </a:lnTo>
                <a:cubicBezTo>
                  <a:pt x="6068009" y="1999411"/>
                  <a:pt x="5969380" y="2098040"/>
                  <a:pt x="5847715" y="2098040"/>
                </a:cubicBezTo>
                <a:lnTo>
                  <a:pt x="220294" y="2098040"/>
                </a:lnTo>
                <a:cubicBezTo>
                  <a:pt x="98629" y="2098040"/>
                  <a:pt x="0" y="1999411"/>
                  <a:pt x="0" y="1877746"/>
                </a:cubicBezTo>
                <a:lnTo>
                  <a:pt x="0" y="220294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570280"/>
              <a:satOff val="-25905"/>
              <a:lumOff val="34888"/>
              <a:alphaOff val="0"/>
            </a:schemeClr>
          </a:fillRef>
          <a:effectRef idx="3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274320" rIns="91440" bIns="1248749" numCol="1" spcCol="1270" anchor="t" anchorCtr="0">
            <a:noAutofit/>
          </a:bodyPr>
          <a:lstStyle/>
          <a:p>
            <a:pPr marL="0" marR="0" lvl="0" indent="0" algn="ctr" defTabSz="17335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ter-dependent material suppliers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50AAB823-6D38-E637-0B8D-D3AD72F5F2FC}"/>
              </a:ext>
            </a:extLst>
          </p:cNvPr>
          <p:cNvSpPr/>
          <p:nvPr/>
        </p:nvSpPr>
        <p:spPr>
          <a:xfrm>
            <a:off x="8562668" y="4534678"/>
            <a:ext cx="2607531" cy="1203313"/>
          </a:xfrm>
          <a:custGeom>
            <a:avLst/>
            <a:gdLst>
              <a:gd name="connsiteX0" fmla="*/ 0 w 6068009"/>
              <a:gd name="connsiteY0" fmla="*/ 220294 h 2098040"/>
              <a:gd name="connsiteX1" fmla="*/ 220294 w 6068009"/>
              <a:gd name="connsiteY1" fmla="*/ 0 h 2098040"/>
              <a:gd name="connsiteX2" fmla="*/ 5847715 w 6068009"/>
              <a:gd name="connsiteY2" fmla="*/ 0 h 2098040"/>
              <a:gd name="connsiteX3" fmla="*/ 6068009 w 6068009"/>
              <a:gd name="connsiteY3" fmla="*/ 220294 h 2098040"/>
              <a:gd name="connsiteX4" fmla="*/ 6068009 w 6068009"/>
              <a:gd name="connsiteY4" fmla="*/ 1877746 h 2098040"/>
              <a:gd name="connsiteX5" fmla="*/ 5847715 w 6068009"/>
              <a:gd name="connsiteY5" fmla="*/ 2098040 h 2098040"/>
              <a:gd name="connsiteX6" fmla="*/ 220294 w 6068009"/>
              <a:gd name="connsiteY6" fmla="*/ 2098040 h 2098040"/>
              <a:gd name="connsiteX7" fmla="*/ 0 w 6068009"/>
              <a:gd name="connsiteY7" fmla="*/ 1877746 h 2098040"/>
              <a:gd name="connsiteX8" fmla="*/ 0 w 6068009"/>
              <a:gd name="connsiteY8" fmla="*/ 220294 h 2098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68009" h="2098040">
                <a:moveTo>
                  <a:pt x="0" y="220294"/>
                </a:moveTo>
                <a:cubicBezTo>
                  <a:pt x="0" y="98629"/>
                  <a:pt x="98629" y="0"/>
                  <a:pt x="220294" y="0"/>
                </a:cubicBezTo>
                <a:lnTo>
                  <a:pt x="5847715" y="0"/>
                </a:lnTo>
                <a:cubicBezTo>
                  <a:pt x="5969380" y="0"/>
                  <a:pt x="6068009" y="98629"/>
                  <a:pt x="6068009" y="220294"/>
                </a:cubicBezTo>
                <a:lnTo>
                  <a:pt x="6068009" y="1877746"/>
                </a:lnTo>
                <a:cubicBezTo>
                  <a:pt x="6068009" y="1999411"/>
                  <a:pt x="5969380" y="2098040"/>
                  <a:pt x="5847715" y="2098040"/>
                </a:cubicBezTo>
                <a:lnTo>
                  <a:pt x="220294" y="2098040"/>
                </a:lnTo>
                <a:cubicBezTo>
                  <a:pt x="98629" y="2098040"/>
                  <a:pt x="0" y="1999411"/>
                  <a:pt x="0" y="1877746"/>
                </a:cubicBezTo>
                <a:lnTo>
                  <a:pt x="0" y="220294"/>
                </a:lnTo>
                <a:close/>
              </a:path>
            </a:pathLst>
          </a:custGeom>
          <a:solidFill>
            <a:schemeClr val="accent6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shade val="80000"/>
              <a:hueOff val="570280"/>
              <a:satOff val="-25905"/>
              <a:lumOff val="34888"/>
              <a:alphaOff val="0"/>
            </a:schemeClr>
          </a:fillRef>
          <a:effectRef idx="3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182880" rIns="91440" bIns="1248749" numCol="1" spcCol="1270" anchor="t" anchorCtr="0">
            <a:noAutofit/>
          </a:bodyPr>
          <a:lstStyle/>
          <a:p>
            <a:pPr marL="0" marR="0" lvl="0" indent="0" algn="ctr" defTabSz="17335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est-dependent material suppliers</a:t>
            </a:r>
          </a:p>
        </p:txBody>
      </p:sp>
      <p:sp>
        <p:nvSpPr>
          <p:cNvPr id="14" name="Rectangle: Single Corner Snipped 13">
            <a:extLst>
              <a:ext uri="{FF2B5EF4-FFF2-40B4-BE49-F238E27FC236}">
                <a16:creationId xmlns:a16="http://schemas.microsoft.com/office/drawing/2014/main" id="{08C50687-70A6-5A0B-084E-564B2BD716B8}"/>
              </a:ext>
            </a:extLst>
          </p:cNvPr>
          <p:cNvSpPr/>
          <p:nvPr/>
        </p:nvSpPr>
        <p:spPr>
          <a:xfrm>
            <a:off x="8662873" y="3902805"/>
            <a:ext cx="2348796" cy="419379"/>
          </a:xfrm>
          <a:prstGeom prst="snip1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>
              <a:shade val="80000"/>
              <a:hueOff val="570280"/>
              <a:satOff val="-25905"/>
              <a:lumOff val="34888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0475" tIns="120475" rIns="120475" bIns="120475" numCol="1" spcCol="1270" anchor="ctr" anchorCtr="0">
            <a:noAutofit/>
          </a:bodyPr>
          <a:lstStyle/>
          <a:p>
            <a:pPr marL="0" marR="0" lvl="0" indent="0" algn="ctr" defTabSz="1066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lete CDP Water Questionnaire</a:t>
            </a:r>
          </a:p>
        </p:txBody>
      </p:sp>
      <p:sp>
        <p:nvSpPr>
          <p:cNvPr id="15" name="Rectangle: Single Corner Snipped 14">
            <a:extLst>
              <a:ext uri="{FF2B5EF4-FFF2-40B4-BE49-F238E27FC236}">
                <a16:creationId xmlns:a16="http://schemas.microsoft.com/office/drawing/2014/main" id="{E815B426-2558-F9E0-F2A8-CE71A9BD879E}"/>
              </a:ext>
            </a:extLst>
          </p:cNvPr>
          <p:cNvSpPr/>
          <p:nvPr/>
        </p:nvSpPr>
        <p:spPr>
          <a:xfrm>
            <a:off x="8692037" y="5214080"/>
            <a:ext cx="2348796" cy="419379"/>
          </a:xfrm>
          <a:prstGeom prst="snip1Rect">
            <a:avLst/>
          </a:prstGeom>
          <a:ln>
            <a:solidFill>
              <a:srgbClr val="0066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>
              <a:shade val="80000"/>
              <a:hueOff val="570280"/>
              <a:satOff val="-25905"/>
              <a:lumOff val="34888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0475" tIns="120475" rIns="120475" bIns="120475" numCol="1" spcCol="1270" anchor="ctr" anchorCtr="0">
            <a:noAutofit/>
          </a:bodyPr>
          <a:lstStyle/>
          <a:p>
            <a:pPr marL="0" marR="0" lvl="0" indent="0" algn="ctr" defTabSz="1066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40404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lete CDP Forest Questionnaire</a:t>
            </a:r>
          </a:p>
        </p:txBody>
      </p:sp>
    </p:spTree>
    <p:extLst>
      <p:ext uri="{BB962C8B-B14F-4D97-AF65-F5344CB8AC3E}">
        <p14:creationId xmlns:p14="http://schemas.microsoft.com/office/powerpoint/2010/main" val="1601080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C72399-2F4A-8E9D-3947-A460C698DC37}"/>
              </a:ext>
            </a:extLst>
          </p:cNvPr>
          <p:cNvCxnSpPr>
            <a:cxnSpLocks/>
          </p:cNvCxnSpPr>
          <p:nvPr/>
        </p:nvCxnSpPr>
        <p:spPr>
          <a:xfrm>
            <a:off x="7567797" y="5966334"/>
            <a:ext cx="655839" cy="7936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681A5406-351D-9795-01A0-3F5D4BFCB1FB}"/>
              </a:ext>
            </a:extLst>
          </p:cNvPr>
          <p:cNvSpPr/>
          <p:nvPr/>
        </p:nvSpPr>
        <p:spPr>
          <a:xfrm>
            <a:off x="8143044" y="1436868"/>
            <a:ext cx="3594738" cy="46175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solidFill>
              <a:srgbClr val="42536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B8D9CFE-76B8-8649-02EF-1A53CED11F63}"/>
              </a:ext>
            </a:extLst>
          </p:cNvPr>
          <p:cNvCxnSpPr>
            <a:cxnSpLocks/>
          </p:cNvCxnSpPr>
          <p:nvPr/>
        </p:nvCxnSpPr>
        <p:spPr>
          <a:xfrm flipV="1">
            <a:off x="7718323" y="1436867"/>
            <a:ext cx="424721" cy="2434489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>
            <a:extLst>
              <a:ext uri="{FF2B5EF4-FFF2-40B4-BE49-F238E27FC236}">
                <a16:creationId xmlns:a16="http://schemas.microsoft.com/office/drawing/2014/main" id="{92D1DE9C-6BBA-38C3-85F2-A5CAF4961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y climate questio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375CF5-7217-7E68-8E87-D6B3BCBE60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7E3AA6-5088-D944-AC75-93D07D6D345B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F61CE42E-FF07-36A6-5F40-97E147049E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7383966"/>
              </p:ext>
            </p:extLst>
          </p:nvPr>
        </p:nvGraphicFramePr>
        <p:xfrm>
          <a:off x="536906" y="806246"/>
          <a:ext cx="7181417" cy="56043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F86F6769-AECD-AADA-8023-55D41E864FB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56501118"/>
              </p:ext>
            </p:extLst>
          </p:nvPr>
        </p:nvGraphicFramePr>
        <p:xfrm>
          <a:off x="8223636" y="1436869"/>
          <a:ext cx="3401961" cy="46175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64533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92FF73-9B8A-B428-73B5-9AC04C92B8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nessing Dow’s Purchasing Data for Sustainability Ac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555C7E1-0BAE-52FC-0089-7390A952C78A}"/>
              </a:ext>
            </a:extLst>
          </p:cNvPr>
          <p:cNvGrpSpPr/>
          <p:nvPr/>
        </p:nvGrpSpPr>
        <p:grpSpPr>
          <a:xfrm>
            <a:off x="507999" y="2725625"/>
            <a:ext cx="10731499" cy="3290820"/>
            <a:chOff x="3125999" y="722377"/>
            <a:chExt cx="5940000" cy="5413243"/>
          </a:xfrm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BF3C1FE0-E60B-D592-628D-863EB095BD37}"/>
                </a:ext>
              </a:extLst>
            </p:cNvPr>
            <p:cNvSpPr/>
            <p:nvPr/>
          </p:nvSpPr>
          <p:spPr>
            <a:xfrm>
              <a:off x="3125999" y="722377"/>
              <a:ext cx="5940000" cy="1304395"/>
            </a:xfrm>
            <a:custGeom>
              <a:avLst/>
              <a:gdLst>
                <a:gd name="connsiteX0" fmla="*/ 0 w 5940000"/>
                <a:gd name="connsiteY0" fmla="*/ 0 h 1304395"/>
                <a:gd name="connsiteX1" fmla="*/ 5940000 w 5940000"/>
                <a:gd name="connsiteY1" fmla="*/ 0 h 1304395"/>
                <a:gd name="connsiteX2" fmla="*/ 5940000 w 5940000"/>
                <a:gd name="connsiteY2" fmla="*/ 1304395 h 1304395"/>
                <a:gd name="connsiteX3" fmla="*/ 0 w 5940000"/>
                <a:gd name="connsiteY3" fmla="*/ 1304395 h 1304395"/>
                <a:gd name="connsiteX4" fmla="*/ 0 w 5940000"/>
                <a:gd name="connsiteY4" fmla="*/ 0 h 130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0000" h="1304395">
                  <a:moveTo>
                    <a:pt x="0" y="0"/>
                  </a:moveTo>
                  <a:lnTo>
                    <a:pt x="5940000" y="0"/>
                  </a:lnTo>
                  <a:lnTo>
                    <a:pt x="5940000" y="1304395"/>
                  </a:lnTo>
                  <a:lnTo>
                    <a:pt x="0" y="13043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marL="0" marR="0" lvl="0" indent="0" algn="l" defTabSz="17335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aw materials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204871C1-3D09-0435-D72D-1D38F5EC2073}"/>
                </a:ext>
              </a:extLst>
            </p:cNvPr>
            <p:cNvSpPr/>
            <p:nvPr/>
          </p:nvSpPr>
          <p:spPr>
            <a:xfrm>
              <a:off x="3125999" y="2091993"/>
              <a:ext cx="5940000" cy="1304395"/>
            </a:xfrm>
            <a:custGeom>
              <a:avLst/>
              <a:gdLst>
                <a:gd name="connsiteX0" fmla="*/ 0 w 1890000"/>
                <a:gd name="connsiteY0" fmla="*/ 0 h 1304395"/>
                <a:gd name="connsiteX1" fmla="*/ 1890000 w 1890000"/>
                <a:gd name="connsiteY1" fmla="*/ 0 h 1304395"/>
                <a:gd name="connsiteX2" fmla="*/ 1890000 w 1890000"/>
                <a:gd name="connsiteY2" fmla="*/ 1304395 h 1304395"/>
                <a:gd name="connsiteX3" fmla="*/ 0 w 1890000"/>
                <a:gd name="connsiteY3" fmla="*/ 1304395 h 1304395"/>
                <a:gd name="connsiteX4" fmla="*/ 0 w 1890000"/>
                <a:gd name="connsiteY4" fmla="*/ 0 h 130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0000" h="1304395">
                  <a:moveTo>
                    <a:pt x="0" y="0"/>
                  </a:moveTo>
                  <a:lnTo>
                    <a:pt x="1890000" y="0"/>
                  </a:lnTo>
                  <a:lnTo>
                    <a:pt x="1890000" y="1304395"/>
                  </a:lnTo>
                  <a:lnTo>
                    <a:pt x="0" y="13043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marL="0" marR="0" lvl="0" indent="0" algn="l" defTabSz="17335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ogistics</a:t>
              </a: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A0BA7CA-8BC8-3372-D7F2-0C4788E65518}"/>
                </a:ext>
              </a:extLst>
            </p:cNvPr>
            <p:cNvSpPr/>
            <p:nvPr/>
          </p:nvSpPr>
          <p:spPr>
            <a:xfrm>
              <a:off x="3125999" y="3461609"/>
              <a:ext cx="5940000" cy="1304395"/>
            </a:xfrm>
            <a:custGeom>
              <a:avLst/>
              <a:gdLst>
                <a:gd name="connsiteX0" fmla="*/ 0 w 4320000"/>
                <a:gd name="connsiteY0" fmla="*/ 0 h 1304395"/>
                <a:gd name="connsiteX1" fmla="*/ 4320000 w 4320000"/>
                <a:gd name="connsiteY1" fmla="*/ 0 h 1304395"/>
                <a:gd name="connsiteX2" fmla="*/ 4320000 w 4320000"/>
                <a:gd name="connsiteY2" fmla="*/ 1304395 h 1304395"/>
                <a:gd name="connsiteX3" fmla="*/ 0 w 4320000"/>
                <a:gd name="connsiteY3" fmla="*/ 1304395 h 1304395"/>
                <a:gd name="connsiteX4" fmla="*/ 0 w 4320000"/>
                <a:gd name="connsiteY4" fmla="*/ 0 h 130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0000" h="1304395">
                  <a:moveTo>
                    <a:pt x="0" y="0"/>
                  </a:moveTo>
                  <a:lnTo>
                    <a:pt x="4320000" y="0"/>
                  </a:lnTo>
                  <a:lnTo>
                    <a:pt x="4320000" y="1304395"/>
                  </a:lnTo>
                  <a:lnTo>
                    <a:pt x="0" y="13043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marL="0" marR="0" lvl="0" indent="0" algn="l" defTabSz="17335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apital spend</a:t>
              </a: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88D9EEF-D590-53E8-8CB2-E366BFDF22D8}"/>
                </a:ext>
              </a:extLst>
            </p:cNvPr>
            <p:cNvSpPr/>
            <p:nvPr/>
          </p:nvSpPr>
          <p:spPr>
            <a:xfrm>
              <a:off x="3126000" y="4831225"/>
              <a:ext cx="5939999" cy="1304395"/>
            </a:xfrm>
            <a:custGeom>
              <a:avLst/>
              <a:gdLst>
                <a:gd name="connsiteX0" fmla="*/ 0 w 2250000"/>
                <a:gd name="connsiteY0" fmla="*/ 0 h 1304395"/>
                <a:gd name="connsiteX1" fmla="*/ 2250000 w 2250000"/>
                <a:gd name="connsiteY1" fmla="*/ 0 h 1304395"/>
                <a:gd name="connsiteX2" fmla="*/ 2250000 w 2250000"/>
                <a:gd name="connsiteY2" fmla="*/ 1304395 h 1304395"/>
                <a:gd name="connsiteX3" fmla="*/ 0 w 2250000"/>
                <a:gd name="connsiteY3" fmla="*/ 1304395 h 1304395"/>
                <a:gd name="connsiteX4" fmla="*/ 0 w 2250000"/>
                <a:gd name="connsiteY4" fmla="*/ 0 h 130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0000" h="1304395">
                  <a:moveTo>
                    <a:pt x="0" y="0"/>
                  </a:moveTo>
                  <a:lnTo>
                    <a:pt x="2250000" y="0"/>
                  </a:lnTo>
                  <a:lnTo>
                    <a:pt x="2250000" y="1304395"/>
                  </a:lnTo>
                  <a:lnTo>
                    <a:pt x="0" y="13043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marL="0" marR="0" lvl="0" indent="0" algn="l" defTabSz="17335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rporate services</a:t>
              </a:r>
            </a:p>
          </p:txBody>
        </p:sp>
      </p:grpSp>
      <p:sp>
        <p:nvSpPr>
          <p:cNvPr id="47" name="Rectangle: Diagonal Corners Rounded 46">
            <a:extLst>
              <a:ext uri="{FF2B5EF4-FFF2-40B4-BE49-F238E27FC236}">
                <a16:creationId xmlns:a16="http://schemas.microsoft.com/office/drawing/2014/main" id="{7AF834EE-0B4C-1209-642E-AFF4CFA39B94}"/>
              </a:ext>
            </a:extLst>
          </p:cNvPr>
          <p:cNvSpPr/>
          <p:nvPr/>
        </p:nvSpPr>
        <p:spPr>
          <a:xfrm>
            <a:off x="4858919" y="818146"/>
            <a:ext cx="6380579" cy="1052126"/>
          </a:xfrm>
          <a:prstGeom prst="round2DiagRect">
            <a:avLst>
              <a:gd name="adj1" fmla="val 46399"/>
              <a:gd name="adj2" fmla="val 0"/>
            </a:avLst>
          </a:prstGeom>
          <a:solidFill>
            <a:schemeClr val="accent4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urchasing records deep dive </a:t>
            </a:r>
            <a:b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d Powerbi report</a:t>
            </a:r>
          </a:p>
        </p:txBody>
      </p:sp>
      <p:sp>
        <p:nvSpPr>
          <p:cNvPr id="69" name="Arrow: Pentagon 68">
            <a:extLst>
              <a:ext uri="{FF2B5EF4-FFF2-40B4-BE49-F238E27FC236}">
                <a16:creationId xmlns:a16="http://schemas.microsoft.com/office/drawing/2014/main" id="{E1CF753F-C6E0-DAA5-BB04-44E506C8E409}"/>
              </a:ext>
            </a:extLst>
          </p:cNvPr>
          <p:cNvSpPr/>
          <p:nvPr/>
        </p:nvSpPr>
        <p:spPr>
          <a:xfrm rot="16200000">
            <a:off x="5468416" y="3629190"/>
            <a:ext cx="4041453" cy="779875"/>
          </a:xfrm>
          <a:prstGeom prst="homePlate">
            <a:avLst/>
          </a:prstGeom>
          <a:solidFill>
            <a:schemeClr val="accent6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forestation risks</a:t>
            </a:r>
          </a:p>
        </p:txBody>
      </p:sp>
      <p:sp>
        <p:nvSpPr>
          <p:cNvPr id="70" name="Arrow: Pentagon 69">
            <a:extLst>
              <a:ext uri="{FF2B5EF4-FFF2-40B4-BE49-F238E27FC236}">
                <a16:creationId xmlns:a16="http://schemas.microsoft.com/office/drawing/2014/main" id="{D66F1C54-B886-589F-E5D7-1ED450037FC9}"/>
              </a:ext>
            </a:extLst>
          </p:cNvPr>
          <p:cNvSpPr/>
          <p:nvPr/>
        </p:nvSpPr>
        <p:spPr>
          <a:xfrm rot="16200000">
            <a:off x="4348276" y="3629190"/>
            <a:ext cx="4041453" cy="779875"/>
          </a:xfrm>
          <a:prstGeom prst="homePlate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o-based materials</a:t>
            </a:r>
          </a:p>
        </p:txBody>
      </p:sp>
      <p:sp>
        <p:nvSpPr>
          <p:cNvPr id="71" name="Arrow: Pentagon 70">
            <a:extLst>
              <a:ext uri="{FF2B5EF4-FFF2-40B4-BE49-F238E27FC236}">
                <a16:creationId xmlns:a16="http://schemas.microsoft.com/office/drawing/2014/main" id="{F0E99FC7-F0AE-3C57-0239-64824324E45E}"/>
              </a:ext>
            </a:extLst>
          </p:cNvPr>
          <p:cNvSpPr/>
          <p:nvPr/>
        </p:nvSpPr>
        <p:spPr>
          <a:xfrm rot="16200000">
            <a:off x="3228136" y="3629190"/>
            <a:ext cx="4041453" cy="779875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rbon emissions</a:t>
            </a: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70356283-D9F3-0FC5-3096-CBFC838C9D38}"/>
              </a:ext>
            </a:extLst>
          </p:cNvPr>
          <p:cNvSpPr/>
          <p:nvPr/>
        </p:nvSpPr>
        <p:spPr>
          <a:xfrm rot="16200000">
            <a:off x="6588556" y="3629189"/>
            <a:ext cx="4041453" cy="779876"/>
          </a:xfrm>
          <a:prstGeom prst="homePlate">
            <a:avLst/>
          </a:prstGeom>
          <a:solidFill>
            <a:schemeClr val="tx2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ter risks</a:t>
            </a: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054C2B3A-72C0-F673-D5C1-EB661EA89647}"/>
              </a:ext>
            </a:extLst>
          </p:cNvPr>
          <p:cNvSpPr/>
          <p:nvPr/>
        </p:nvSpPr>
        <p:spPr>
          <a:xfrm rot="16200000">
            <a:off x="7695652" y="3600491"/>
            <a:ext cx="4067544" cy="779875"/>
          </a:xfrm>
          <a:prstGeom prst="homePlate">
            <a:avLst/>
          </a:prstGeom>
          <a:solidFill>
            <a:srgbClr val="42536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flict minerals</a:t>
            </a: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06EC1C10-747C-03D0-4598-EEA841B9340A}"/>
              </a:ext>
            </a:extLst>
          </p:cNvPr>
          <p:cNvSpPr/>
          <p:nvPr/>
        </p:nvSpPr>
        <p:spPr>
          <a:xfrm rot="16200000">
            <a:off x="8828488" y="3616144"/>
            <a:ext cx="4067544" cy="779875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 w="19050" cap="rnd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plier diversity</a:t>
            </a: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id="{1571B5B4-A18F-D8B9-4C68-A783415DE608}"/>
              </a:ext>
            </a:extLst>
          </p:cNvPr>
          <p:cNvSpPr/>
          <p:nvPr/>
        </p:nvSpPr>
        <p:spPr>
          <a:xfrm rot="16200000">
            <a:off x="7695653" y="3616144"/>
            <a:ext cx="4067544" cy="779875"/>
          </a:xfrm>
          <a:prstGeom prst="homePlate">
            <a:avLst/>
          </a:prstGeom>
          <a:solidFill>
            <a:srgbClr val="42536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uman rights risks</a:t>
            </a:r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646DD3FC-1223-CCA3-39C5-3D6011423B60}"/>
              </a:ext>
            </a:extLst>
          </p:cNvPr>
          <p:cNvSpPr/>
          <p:nvPr/>
        </p:nvSpPr>
        <p:spPr>
          <a:xfrm rot="16200000">
            <a:off x="8828489" y="3616144"/>
            <a:ext cx="4067544" cy="779875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 w="19050" cap="rnd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plier diversity</a:t>
            </a:r>
          </a:p>
        </p:txBody>
      </p:sp>
    </p:spTree>
    <p:extLst>
      <p:ext uri="{BB962C8B-B14F-4D97-AF65-F5344CB8AC3E}">
        <p14:creationId xmlns:p14="http://schemas.microsoft.com/office/powerpoint/2010/main" val="2109524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40468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rnIBEESfTMCIIFHKT4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Brand 2">
      <a:dk1>
        <a:srgbClr val="000000"/>
      </a:dk1>
      <a:lt1>
        <a:srgbClr val="FFFFFF"/>
      </a:lt1>
      <a:dk2>
        <a:srgbClr val="42546C"/>
      </a:dk2>
      <a:lt2>
        <a:srgbClr val="E7E6E6"/>
      </a:lt2>
      <a:accent1>
        <a:srgbClr val="004E92"/>
      </a:accent1>
      <a:accent2>
        <a:srgbClr val="00BDB7"/>
      </a:accent2>
      <a:accent3>
        <a:srgbClr val="CAC5B5"/>
      </a:accent3>
      <a:accent4>
        <a:srgbClr val="FFC000"/>
      </a:accent4>
      <a:accent5>
        <a:srgbClr val="7AA094"/>
      </a:accent5>
      <a:accent6>
        <a:srgbClr val="EA001A"/>
      </a:accent6>
      <a:hlink>
        <a:srgbClr val="2B52D6"/>
      </a:hlink>
      <a:folHlink>
        <a:srgbClr val="0000B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45720" rIns="45720" rtlCol="0">
        <a:noAutofit/>
      </a:bodyPr>
      <a:lstStyle>
        <a:defPPr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0303E30-E65F-45DE-B9C3-D9798B7E1C65}" vid="{8F4EC216-677A-4CD2-A8E9-4D9316B77067}"/>
    </a:ext>
  </a:extLst>
</a:theme>
</file>

<file path=ppt/theme/theme2.xml><?xml version="1.0" encoding="utf-8"?>
<a:theme xmlns:a="http://schemas.openxmlformats.org/drawingml/2006/main" name="2_Default Theme">
  <a:themeElements>
    <a:clrScheme name="Brand 2">
      <a:dk1>
        <a:srgbClr val="000000"/>
      </a:dk1>
      <a:lt1>
        <a:srgbClr val="FFFFFF"/>
      </a:lt1>
      <a:dk2>
        <a:srgbClr val="42546C"/>
      </a:dk2>
      <a:lt2>
        <a:srgbClr val="E7E6E6"/>
      </a:lt2>
      <a:accent1>
        <a:srgbClr val="004E92"/>
      </a:accent1>
      <a:accent2>
        <a:srgbClr val="00BDB7"/>
      </a:accent2>
      <a:accent3>
        <a:srgbClr val="CAC5B5"/>
      </a:accent3>
      <a:accent4>
        <a:srgbClr val="FFC000"/>
      </a:accent4>
      <a:accent5>
        <a:srgbClr val="7AA094"/>
      </a:accent5>
      <a:accent6>
        <a:srgbClr val="EA001A"/>
      </a:accent6>
      <a:hlink>
        <a:srgbClr val="2B52D6"/>
      </a:hlink>
      <a:folHlink>
        <a:srgbClr val="0000B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45720" rIns="45720" rtlCol="0">
        <a:noAutofit/>
      </a:bodyPr>
      <a:lstStyle>
        <a:defPPr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0303E30-E65F-45DE-B9C3-D9798B7E1C65}" vid="{8F4EC216-677A-4CD2-A8E9-4D9316B77067}"/>
    </a:ext>
  </a:extLst>
</a:theme>
</file>

<file path=ppt/theme/theme3.xml><?xml version="1.0" encoding="utf-8"?>
<a:theme xmlns:a="http://schemas.openxmlformats.org/drawingml/2006/main" name="4_Dow Chemical 2021 Grid 16:9 - 15310">
  <a:themeElements>
    <a:clrScheme name="Dow">
      <a:dk1>
        <a:srgbClr val="404040"/>
      </a:dk1>
      <a:lt1>
        <a:sysClr val="window" lastClr="FFFFFF"/>
      </a:lt1>
      <a:dk2>
        <a:srgbClr val="415364"/>
      </a:dk2>
      <a:lt2>
        <a:srgbClr val="F2F2F2"/>
      </a:lt2>
      <a:accent1>
        <a:srgbClr val="193F5E"/>
      </a:accent1>
      <a:accent2>
        <a:srgbClr val="E80033"/>
      </a:accent2>
      <a:accent3>
        <a:srgbClr val="FEBB12"/>
      </a:accent3>
      <a:accent4>
        <a:srgbClr val="CBC5B5"/>
      </a:accent4>
      <a:accent5>
        <a:srgbClr val="829995"/>
      </a:accent5>
      <a:accent6>
        <a:srgbClr val="00B2A9"/>
      </a:accent6>
      <a:hlink>
        <a:srgbClr val="005CB9"/>
      </a:hlink>
      <a:folHlink>
        <a:srgbClr val="00B5E2"/>
      </a:folHlink>
    </a:clrScheme>
    <a:fontScheme name="Dow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42536C"/>
        </a:solidFill>
        <a:ln w="9525" cap="rnd" cmpd="sng" algn="ctr">
          <a:solidFill>
            <a:srgbClr val="42536C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40404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3_Dow Chemical 2021 Grid 16:9 - 15310">
  <a:themeElements>
    <a:clrScheme name="Dow">
      <a:dk1>
        <a:srgbClr val="404040"/>
      </a:dk1>
      <a:lt1>
        <a:sysClr val="window" lastClr="FFFFFF"/>
      </a:lt1>
      <a:dk2>
        <a:srgbClr val="415364"/>
      </a:dk2>
      <a:lt2>
        <a:srgbClr val="F2F2F2"/>
      </a:lt2>
      <a:accent1>
        <a:srgbClr val="193F5E"/>
      </a:accent1>
      <a:accent2>
        <a:srgbClr val="E80033"/>
      </a:accent2>
      <a:accent3>
        <a:srgbClr val="FEBB12"/>
      </a:accent3>
      <a:accent4>
        <a:srgbClr val="CBC5B5"/>
      </a:accent4>
      <a:accent5>
        <a:srgbClr val="829995"/>
      </a:accent5>
      <a:accent6>
        <a:srgbClr val="00B2A9"/>
      </a:accent6>
      <a:hlink>
        <a:srgbClr val="005CB9"/>
      </a:hlink>
      <a:folHlink>
        <a:srgbClr val="00B5E2"/>
      </a:folHlink>
    </a:clrScheme>
    <a:fontScheme name="Dow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42536C"/>
        </a:solidFill>
        <a:ln w="9525" cap="rnd" cmpd="sng" algn="ctr">
          <a:solidFill>
            <a:srgbClr val="42536C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40404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8_Default Theme">
  <a:themeElements>
    <a:clrScheme name="New Dow Palette">
      <a:dk1>
        <a:srgbClr val="415364"/>
      </a:dk1>
      <a:lt1>
        <a:srgbClr val="FFFFFF"/>
      </a:lt1>
      <a:dk2>
        <a:srgbClr val="000000"/>
      </a:dk2>
      <a:lt2>
        <a:srgbClr val="E80033"/>
      </a:lt2>
      <a:accent1>
        <a:srgbClr val="829995"/>
      </a:accent1>
      <a:accent2>
        <a:srgbClr val="5E514D"/>
      </a:accent2>
      <a:accent3>
        <a:srgbClr val="193F5E"/>
      </a:accent3>
      <a:accent4>
        <a:srgbClr val="CBC5B5"/>
      </a:accent4>
      <a:accent5>
        <a:srgbClr val="00B2A9"/>
      </a:accent5>
      <a:accent6>
        <a:srgbClr val="FEBB12"/>
      </a:accent6>
      <a:hlink>
        <a:srgbClr val="00B2A9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45720" rIns="45720" rtlCol="0">
        <a:noAutofit/>
      </a:bodyPr>
      <a:lstStyle>
        <a:defPPr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rketingTemplate_4-30-19" id="{896D9512-6E13-A146-85C5-A70C47371E5A}" vid="{3D137FBD-C7FD-A74D-B131-734EEC9D8E0F}"/>
    </a:ext>
  </a:extLst>
</a:theme>
</file>

<file path=ppt/theme/theme7.xml><?xml version="1.0" encoding="utf-8"?>
<a:theme xmlns:a="http://schemas.openxmlformats.org/drawingml/2006/main" name="8_Default Theme">
  <a:themeElements>
    <a:clrScheme name="Custom 2">
      <a:dk1>
        <a:srgbClr val="E80033"/>
      </a:dk1>
      <a:lt1>
        <a:srgbClr val="FFFFFF"/>
      </a:lt1>
      <a:dk2>
        <a:srgbClr val="00B2A9"/>
      </a:dk2>
      <a:lt2>
        <a:srgbClr val="E7E6E6"/>
      </a:lt2>
      <a:accent1>
        <a:srgbClr val="E80033"/>
      </a:accent1>
      <a:accent2>
        <a:srgbClr val="FEBB12"/>
      </a:accent2>
      <a:accent3>
        <a:srgbClr val="005BAA"/>
      </a:accent3>
      <a:accent4>
        <a:srgbClr val="56975D"/>
      </a:accent4>
      <a:accent5>
        <a:srgbClr val="FFFFFF"/>
      </a:accent5>
      <a:accent6>
        <a:srgbClr val="000000"/>
      </a:accent6>
      <a:hlink>
        <a:srgbClr val="2B52D6"/>
      </a:hlink>
      <a:folHlink>
        <a:srgbClr val="0000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45720" rIns="45720" rtlCol="0">
        <a:noAutofit/>
      </a:bodyPr>
      <a:lstStyle>
        <a:defPPr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0303E30-E65F-45DE-B9C3-D9798B7E1C65}" vid="{8F4EC216-677A-4CD2-A8E9-4D9316B77067}"/>
    </a:ext>
  </a:extLst>
</a:theme>
</file>

<file path=ppt/theme/theme8.xml><?xml version="1.0" encoding="utf-8"?>
<a:theme xmlns:a="http://schemas.openxmlformats.org/drawingml/2006/main" name="6_Dow Chemical 2021 Grid 16:9 - 15310">
  <a:themeElements>
    <a:clrScheme name="Dow">
      <a:dk1>
        <a:srgbClr val="404040"/>
      </a:dk1>
      <a:lt1>
        <a:sysClr val="window" lastClr="FFFFFF"/>
      </a:lt1>
      <a:dk2>
        <a:srgbClr val="415364"/>
      </a:dk2>
      <a:lt2>
        <a:srgbClr val="F2F2F2"/>
      </a:lt2>
      <a:accent1>
        <a:srgbClr val="193F5E"/>
      </a:accent1>
      <a:accent2>
        <a:srgbClr val="E80033"/>
      </a:accent2>
      <a:accent3>
        <a:srgbClr val="FEBB12"/>
      </a:accent3>
      <a:accent4>
        <a:srgbClr val="CBC5B5"/>
      </a:accent4>
      <a:accent5>
        <a:srgbClr val="829995"/>
      </a:accent5>
      <a:accent6>
        <a:srgbClr val="00B2A9"/>
      </a:accent6>
      <a:hlink>
        <a:srgbClr val="005CB9"/>
      </a:hlink>
      <a:folHlink>
        <a:srgbClr val="00B5E2"/>
      </a:folHlink>
    </a:clrScheme>
    <a:fontScheme name="Dow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42536C"/>
        </a:solidFill>
        <a:ln w="9525" cap="rnd" cmpd="sng" algn="ctr">
          <a:solidFill>
            <a:srgbClr val="42536C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40404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56</TotalTime>
  <Words>246</Words>
  <Application>Microsoft Office PowerPoint</Application>
  <PresentationFormat>Widescreen</PresentationFormat>
  <Paragraphs>52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4" baseType="lpstr">
      <vt:lpstr>Arial</vt:lpstr>
      <vt:lpstr>Calibri</vt:lpstr>
      <vt:lpstr>Calibri Light</vt:lpstr>
      <vt:lpstr>Courier New</vt:lpstr>
      <vt:lpstr>Georgia</vt:lpstr>
      <vt:lpstr>System Font Regular</vt:lpstr>
      <vt:lpstr>Theinhardt</vt:lpstr>
      <vt:lpstr>Trebuchet MS</vt:lpstr>
      <vt:lpstr>Wingdings</vt:lpstr>
      <vt:lpstr>Default Theme</vt:lpstr>
      <vt:lpstr>2_Default Theme</vt:lpstr>
      <vt:lpstr>4_Dow Chemical 2021 Grid 16:9 - 15310</vt:lpstr>
      <vt:lpstr>3_Dow Chemical 2021 Grid 16:9 - 15310</vt:lpstr>
      <vt:lpstr>Office Theme</vt:lpstr>
      <vt:lpstr>18_Default Theme</vt:lpstr>
      <vt:lpstr>8_Default Theme</vt:lpstr>
      <vt:lpstr>6_Dow Chemical 2021 Grid 16:9 - 15310</vt:lpstr>
      <vt:lpstr>think-cell Slide</vt:lpstr>
      <vt:lpstr>Scope 3 at Dow</vt:lpstr>
      <vt:lpstr>Dow’s Scope 3 Climate Strategy</vt:lpstr>
      <vt:lpstr>High emissions = high ambitions</vt:lpstr>
      <vt:lpstr>Key climate questions</vt:lpstr>
      <vt:lpstr>Harnessing Dow’s Purchasing Data for Sustainability Ac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king scope 3 emissions transparent across Dow</dc:title>
  <dc:creator>Greene, Suzanne (S)</dc:creator>
  <cp:lastModifiedBy>Greene, Suzanne (S)</cp:lastModifiedBy>
  <cp:revision>4</cp:revision>
  <cp:lastPrinted>2022-05-17T09:52:25Z</cp:lastPrinted>
  <dcterms:created xsi:type="dcterms:W3CDTF">2022-05-11T08:50:07Z</dcterms:created>
  <dcterms:modified xsi:type="dcterms:W3CDTF">2024-01-23T05:39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aac0ad3-18d9-49e9-a80d-c985041778ba_Enabled">
    <vt:lpwstr>true</vt:lpwstr>
  </property>
  <property fmtid="{D5CDD505-2E9C-101B-9397-08002B2CF9AE}" pid="3" name="MSIP_Label_3aac0ad3-18d9-49e9-a80d-c985041778ba_SetDate">
    <vt:lpwstr>2022-12-13T14:00:54Z</vt:lpwstr>
  </property>
  <property fmtid="{D5CDD505-2E9C-101B-9397-08002B2CF9AE}" pid="4" name="MSIP_Label_3aac0ad3-18d9-49e9-a80d-c985041778ba_Method">
    <vt:lpwstr>Standard</vt:lpwstr>
  </property>
  <property fmtid="{D5CDD505-2E9C-101B-9397-08002B2CF9AE}" pid="5" name="MSIP_Label_3aac0ad3-18d9-49e9-a80d-c985041778ba_Name">
    <vt:lpwstr>General Business</vt:lpwstr>
  </property>
  <property fmtid="{D5CDD505-2E9C-101B-9397-08002B2CF9AE}" pid="6" name="MSIP_Label_3aac0ad3-18d9-49e9-a80d-c985041778ba_SiteId">
    <vt:lpwstr>c3e32f53-cb7f-4809-968d-1cc4ccc785fe</vt:lpwstr>
  </property>
  <property fmtid="{D5CDD505-2E9C-101B-9397-08002B2CF9AE}" pid="7" name="MSIP_Label_3aac0ad3-18d9-49e9-a80d-c985041778ba_ActionId">
    <vt:lpwstr>75278a92-72a8-476a-a1bf-19d925e3303c</vt:lpwstr>
  </property>
  <property fmtid="{D5CDD505-2E9C-101B-9397-08002B2CF9AE}" pid="8" name="MSIP_Label_3aac0ad3-18d9-49e9-a80d-c985041778ba_ContentBits">
    <vt:lpwstr>2</vt:lpwstr>
  </property>
</Properties>
</file>